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10"/>
  </p:notesMasterIdLst>
  <p:sldIdLst>
    <p:sldId id="326" r:id="rId6"/>
    <p:sldId id="2147483647" r:id="rId7"/>
    <p:sldId id="256" r:id="rId8"/>
    <p:sldId id="257" r:id="rId9"/>
  </p:sldIdLst>
  <p:sldSz cx="12192000" cy="6858000"/>
  <p:notesSz cx="6797675" cy="9926638"/>
  <p:custDataLst>
    <p:tags r:id="rId11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5BAAB"/>
    <a:srgbClr val="E4BAAD"/>
    <a:srgbClr val="DCA097"/>
    <a:srgbClr val="E6E7D2"/>
    <a:srgbClr val="F3EED8"/>
    <a:srgbClr val="CE6D6C"/>
    <a:srgbClr val="CC6666"/>
    <a:srgbClr val="D17976"/>
    <a:srgbClr val="F0F0F0"/>
    <a:srgbClr val="FFC2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A677B5-9C4F-42CA-8585-CDD7D0F65D83}" v="7" dt="2025-05-29T11:17:51.45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58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maria, Shridhar" userId="8333b265-e735-45f8-a921-ce459cc3483a" providerId="ADAL" clId="{12222100-8A08-4DD9-9435-7250C517DBE6}"/>
    <pc:docChg chg="custSel modSld">
      <pc:chgData name="Chamaria, Shridhar" userId="8333b265-e735-45f8-a921-ce459cc3483a" providerId="ADAL" clId="{12222100-8A08-4DD9-9435-7250C517DBE6}" dt="2025-05-28T06:25:46.178" v="795"/>
      <pc:docMkLst>
        <pc:docMk/>
      </pc:docMkLst>
      <pc:sldChg chg="addSp delSp modSp mod">
        <pc:chgData name="Chamaria, Shridhar" userId="8333b265-e735-45f8-a921-ce459cc3483a" providerId="ADAL" clId="{12222100-8A08-4DD9-9435-7250C517DBE6}" dt="2025-05-28T06:22:38.315" v="605"/>
        <pc:sldMkLst>
          <pc:docMk/>
          <pc:sldMk cId="2023129455" sldId="256"/>
        </pc:sldMkLst>
        <pc:spChg chg="mod ord">
          <ac:chgData name="Chamaria, Shridhar" userId="8333b265-e735-45f8-a921-ce459cc3483a" providerId="ADAL" clId="{12222100-8A08-4DD9-9435-7250C517DBE6}" dt="2025-05-28T06:20:34.008" v="574" actId="948"/>
          <ac:spMkLst>
            <pc:docMk/>
            <pc:sldMk cId="2023129455" sldId="256"/>
            <ac:spMk id="2" creationId="{00000000-0000-0000-0000-000000000000}"/>
          </ac:spMkLst>
        </pc:spChg>
        <pc:spChg chg="mod ord">
          <ac:chgData name="Chamaria, Shridhar" userId="8333b265-e735-45f8-a921-ce459cc3483a" providerId="ADAL" clId="{12222100-8A08-4DD9-9435-7250C517DBE6}" dt="2025-05-28T06:20:08.608" v="501"/>
          <ac:spMkLst>
            <pc:docMk/>
            <pc:sldMk cId="2023129455" sldId="256"/>
            <ac:spMk id="3" creationId="{00000000-0000-0000-0000-000000000000}"/>
          </ac:spMkLst>
        </pc:spChg>
        <pc:spChg chg="add mod ord">
          <ac:chgData name="Chamaria, Shridhar" userId="8333b265-e735-45f8-a921-ce459cc3483a" providerId="ADAL" clId="{12222100-8A08-4DD9-9435-7250C517DBE6}" dt="2025-05-28T06:20:17.997" v="550" actId="1035"/>
          <ac:spMkLst>
            <pc:docMk/>
            <pc:sldMk cId="2023129455" sldId="256"/>
            <ac:spMk id="6" creationId="{D0AC51D7-C179-91CD-B39C-ADCCB3517C17}"/>
          </ac:spMkLst>
        </pc:spChg>
        <pc:spChg chg="add mod ord">
          <ac:chgData name="Chamaria, Shridhar" userId="8333b265-e735-45f8-a921-ce459cc3483a" providerId="ADAL" clId="{12222100-8A08-4DD9-9435-7250C517DBE6}" dt="2025-05-28T06:20:17.997" v="550" actId="1035"/>
          <ac:spMkLst>
            <pc:docMk/>
            <pc:sldMk cId="2023129455" sldId="256"/>
            <ac:spMk id="8" creationId="{466404D1-7205-D35B-50C1-8F1ADC16834D}"/>
          </ac:spMkLst>
        </pc:spChg>
        <pc:spChg chg="del mod">
          <ac:chgData name="Chamaria, Shridhar" userId="8333b265-e735-45f8-a921-ce459cc3483a" providerId="ADAL" clId="{12222100-8A08-4DD9-9435-7250C517DBE6}" dt="2025-05-28T06:21:16.317" v="577" actId="478"/>
          <ac:spMkLst>
            <pc:docMk/>
            <pc:sldMk cId="2023129455" sldId="256"/>
            <ac:spMk id="18" creationId="{D2C4000D-18FF-D1F4-F107-688CA71DEA7B}"/>
          </ac:spMkLst>
        </pc:spChg>
        <pc:spChg chg="add mod ord">
          <ac:chgData name="Chamaria, Shridhar" userId="8333b265-e735-45f8-a921-ce459cc3483a" providerId="ADAL" clId="{12222100-8A08-4DD9-9435-7250C517DBE6}" dt="2025-05-28T06:20:17.997" v="550" actId="1035"/>
          <ac:spMkLst>
            <pc:docMk/>
            <pc:sldMk cId="2023129455" sldId="256"/>
            <ac:spMk id="20" creationId="{467D85E5-2FFE-A158-DF26-AD209DCCCDE8}"/>
          </ac:spMkLst>
        </pc:spChg>
        <pc:spChg chg="add mod ord">
          <ac:chgData name="Chamaria, Shridhar" userId="8333b265-e735-45f8-a921-ce459cc3483a" providerId="ADAL" clId="{12222100-8A08-4DD9-9435-7250C517DBE6}" dt="2025-05-28T06:20:17.997" v="550" actId="1035"/>
          <ac:spMkLst>
            <pc:docMk/>
            <pc:sldMk cId="2023129455" sldId="256"/>
            <ac:spMk id="21" creationId="{CDFB3D69-82B3-933F-ACEA-0CEBC4153B07}"/>
          </ac:spMkLst>
        </pc:spChg>
        <pc:spChg chg="add mod ord">
          <ac:chgData name="Chamaria, Shridhar" userId="8333b265-e735-45f8-a921-ce459cc3483a" providerId="ADAL" clId="{12222100-8A08-4DD9-9435-7250C517DBE6}" dt="2025-05-28T06:20:17.997" v="550" actId="1035"/>
          <ac:spMkLst>
            <pc:docMk/>
            <pc:sldMk cId="2023129455" sldId="256"/>
            <ac:spMk id="24" creationId="{7E789E08-24D6-2C94-C44F-F1FE4C1EAEB8}"/>
          </ac:spMkLst>
        </pc:spChg>
        <pc:spChg chg="mod">
          <ac:chgData name="Chamaria, Shridhar" userId="8333b265-e735-45f8-a921-ce459cc3483a" providerId="ADAL" clId="{12222100-8A08-4DD9-9435-7250C517DBE6}" dt="2025-05-28T06:20:21.004" v="551" actId="14100"/>
          <ac:spMkLst>
            <pc:docMk/>
            <pc:sldMk cId="2023129455" sldId="256"/>
            <ac:spMk id="25" creationId="{4B807C93-3B63-6676-0208-39D6DD2F4742}"/>
          </ac:spMkLst>
        </pc:spChg>
        <pc:spChg chg="mod ord">
          <ac:chgData name="Chamaria, Shridhar" userId="8333b265-e735-45f8-a921-ce459cc3483a" providerId="ADAL" clId="{12222100-8A08-4DD9-9435-7250C517DBE6}" dt="2025-05-28T06:20:08.608" v="514"/>
          <ac:spMkLst>
            <pc:docMk/>
            <pc:sldMk cId="2023129455" sldId="256"/>
            <ac:spMk id="26" creationId="{F9929F2C-F526-C821-0D4C-AD3BA7BFD51A}"/>
          </ac:spMkLst>
        </pc:spChg>
        <pc:spChg chg="mod ord">
          <ac:chgData name="Chamaria, Shridhar" userId="8333b265-e735-45f8-a921-ce459cc3483a" providerId="ADAL" clId="{12222100-8A08-4DD9-9435-7250C517DBE6}" dt="2025-05-28T06:20:08.608" v="487"/>
          <ac:spMkLst>
            <pc:docMk/>
            <pc:sldMk cId="2023129455" sldId="256"/>
            <ac:spMk id="27" creationId="{9D69803F-93C9-D56C-B8D8-4A69DE8FD2C3}"/>
          </ac:spMkLst>
        </pc:spChg>
        <pc:spChg chg="mod ord">
          <ac:chgData name="Chamaria, Shridhar" userId="8333b265-e735-45f8-a921-ce459cc3483a" providerId="ADAL" clId="{12222100-8A08-4DD9-9435-7250C517DBE6}" dt="2025-05-28T06:20:08.608" v="489"/>
          <ac:spMkLst>
            <pc:docMk/>
            <pc:sldMk cId="2023129455" sldId="256"/>
            <ac:spMk id="28" creationId="{D92BDEEF-3F3F-FE13-95E3-81F61010D339}"/>
          </ac:spMkLst>
        </pc:spChg>
        <pc:spChg chg="mod ord">
          <ac:chgData name="Chamaria, Shridhar" userId="8333b265-e735-45f8-a921-ce459cc3483a" providerId="ADAL" clId="{12222100-8A08-4DD9-9435-7250C517DBE6}" dt="2025-05-28T06:20:08.608" v="491"/>
          <ac:spMkLst>
            <pc:docMk/>
            <pc:sldMk cId="2023129455" sldId="256"/>
            <ac:spMk id="29" creationId="{5F3AA59E-1835-F555-3C14-4C7B2C6A20B8}"/>
          </ac:spMkLst>
        </pc:spChg>
        <pc:spChg chg="mod ord">
          <ac:chgData name="Chamaria, Shridhar" userId="8333b265-e735-45f8-a921-ce459cc3483a" providerId="ADAL" clId="{12222100-8A08-4DD9-9435-7250C517DBE6}" dt="2025-05-28T06:20:08.608" v="485"/>
          <ac:spMkLst>
            <pc:docMk/>
            <pc:sldMk cId="2023129455" sldId="256"/>
            <ac:spMk id="30" creationId="{FF2767D7-BAD3-0AA3-CF30-E866D6033281}"/>
          </ac:spMkLst>
        </pc:spChg>
        <pc:spChg chg="add mod ord">
          <ac:chgData name="Chamaria, Shridhar" userId="8333b265-e735-45f8-a921-ce459cc3483a" providerId="ADAL" clId="{12222100-8A08-4DD9-9435-7250C517DBE6}" dt="2025-05-28T06:20:17.997" v="550" actId="1035"/>
          <ac:spMkLst>
            <pc:docMk/>
            <pc:sldMk cId="2023129455" sldId="256"/>
            <ac:spMk id="31" creationId="{8E1F2C4C-EFC7-EEEC-B747-6403E960DEFA}"/>
          </ac:spMkLst>
        </pc:spChg>
        <pc:spChg chg="mod ord">
          <ac:chgData name="Chamaria, Shridhar" userId="8333b265-e735-45f8-a921-ce459cc3483a" providerId="ADAL" clId="{12222100-8A08-4DD9-9435-7250C517DBE6}" dt="2025-05-28T06:20:08.608" v="493"/>
          <ac:spMkLst>
            <pc:docMk/>
            <pc:sldMk cId="2023129455" sldId="256"/>
            <ac:spMk id="33" creationId="{70A19B1D-C4EE-7BF1-841D-50AD692B31CE}"/>
          </ac:spMkLst>
        </pc:spChg>
        <pc:spChg chg="add mod ord">
          <ac:chgData name="Chamaria, Shridhar" userId="8333b265-e735-45f8-a921-ce459cc3483a" providerId="ADAL" clId="{12222100-8A08-4DD9-9435-7250C517DBE6}" dt="2025-05-28T06:20:17.997" v="550" actId="1035"/>
          <ac:spMkLst>
            <pc:docMk/>
            <pc:sldMk cId="2023129455" sldId="256"/>
            <ac:spMk id="34" creationId="{E6A5DBA7-369A-A791-33D9-8FBB3EE94BAA}"/>
          </ac:spMkLst>
        </pc:spChg>
        <pc:spChg chg="mod ord">
          <ac:chgData name="Chamaria, Shridhar" userId="8333b265-e735-45f8-a921-ce459cc3483a" providerId="ADAL" clId="{12222100-8A08-4DD9-9435-7250C517DBE6}" dt="2025-05-28T06:20:08.608" v="495"/>
          <ac:spMkLst>
            <pc:docMk/>
            <pc:sldMk cId="2023129455" sldId="256"/>
            <ac:spMk id="35" creationId="{4C69C8A0-9522-1E8A-FC27-F7B64E3DD702}"/>
          </ac:spMkLst>
        </pc:spChg>
        <pc:spChg chg="add del mod modVis">
          <ac:chgData name="Chamaria, Shridhar" userId="8333b265-e735-45f8-a921-ce459cc3483a" providerId="ADAL" clId="{12222100-8A08-4DD9-9435-7250C517DBE6}" dt="2025-05-28T06:20:01.282" v="478"/>
          <ac:spMkLst>
            <pc:docMk/>
            <pc:sldMk cId="2023129455" sldId="256"/>
            <ac:spMk id="36" creationId="{0F0614A7-6C84-FC2B-75BB-D304976B6E99}"/>
          </ac:spMkLst>
        </pc:spChg>
        <pc:spChg chg="mod ord">
          <ac:chgData name="Chamaria, Shridhar" userId="8333b265-e735-45f8-a921-ce459cc3483a" providerId="ADAL" clId="{12222100-8A08-4DD9-9435-7250C517DBE6}" dt="2025-05-28T06:20:08.608" v="483"/>
          <ac:spMkLst>
            <pc:docMk/>
            <pc:sldMk cId="2023129455" sldId="256"/>
            <ac:spMk id="43" creationId="{35D25F11-158A-C7F2-78FD-8437B7CD241E}"/>
          </ac:spMkLst>
        </pc:spChg>
        <pc:spChg chg="add mod">
          <ac:chgData name="Chamaria, Shridhar" userId="8333b265-e735-45f8-a921-ce459cc3483a" providerId="ADAL" clId="{12222100-8A08-4DD9-9435-7250C517DBE6}" dt="2025-05-28T06:21:16.453" v="587"/>
          <ac:spMkLst>
            <pc:docMk/>
            <pc:sldMk cId="2023129455" sldId="256"/>
            <ac:spMk id="46" creationId="{CCEFDCCB-FFAD-67B8-78AC-8B8FC97E3F08}"/>
          </ac:spMkLst>
        </pc:spChg>
        <pc:spChg chg="add mod">
          <ac:chgData name="Chamaria, Shridhar" userId="8333b265-e735-45f8-a921-ce459cc3483a" providerId="ADAL" clId="{12222100-8A08-4DD9-9435-7250C517DBE6}" dt="2025-05-28T06:22:38.315" v="605"/>
          <ac:spMkLst>
            <pc:docMk/>
            <pc:sldMk cId="2023129455" sldId="256"/>
            <ac:spMk id="65" creationId="{9DF11850-9E27-D4C2-4D7D-1BD6E40A3DD5}"/>
          </ac:spMkLst>
        </pc:spChg>
        <pc:grpChg chg="mod ord">
          <ac:chgData name="Chamaria, Shridhar" userId="8333b265-e735-45f8-a921-ce459cc3483a" providerId="ADAL" clId="{12222100-8A08-4DD9-9435-7250C517DBE6}" dt="2025-05-28T06:20:08.608" v="511"/>
          <ac:grpSpMkLst>
            <pc:docMk/>
            <pc:sldMk cId="2023129455" sldId="256"/>
            <ac:grpSpMk id="7" creationId="{D8E331D4-25A5-FBF4-AD62-F2006C080603}"/>
          </ac:grpSpMkLst>
        </pc:grpChg>
        <pc:grpChg chg="del">
          <ac:chgData name="Chamaria, Shridhar" userId="8333b265-e735-45f8-a921-ce459cc3483a" providerId="ADAL" clId="{12222100-8A08-4DD9-9435-7250C517DBE6}" dt="2025-05-28T06:19:57.134" v="397" actId="478"/>
          <ac:grpSpMkLst>
            <pc:docMk/>
            <pc:sldMk cId="2023129455" sldId="256"/>
            <ac:grpSpMk id="16" creationId="{9C81E686-5022-BA8A-72D5-AD83531B4617}"/>
          </ac:grpSpMkLst>
        </pc:grpChg>
        <pc:grpChg chg="mod ord">
          <ac:chgData name="Chamaria, Shridhar" userId="8333b265-e735-45f8-a921-ce459cc3483a" providerId="ADAL" clId="{12222100-8A08-4DD9-9435-7250C517DBE6}" dt="2025-05-28T06:20:08.608" v="507"/>
          <ac:grpSpMkLst>
            <pc:docMk/>
            <pc:sldMk cId="2023129455" sldId="256"/>
            <ac:grpSpMk id="22" creationId="{3CE91A6B-7EC1-CE64-F7B6-062A70B9906C}"/>
          </ac:grpSpMkLst>
        </pc:grpChg>
        <pc:grpChg chg="mod ord">
          <ac:chgData name="Chamaria, Shridhar" userId="8333b265-e735-45f8-a921-ce459cc3483a" providerId="ADAL" clId="{12222100-8A08-4DD9-9435-7250C517DBE6}" dt="2025-05-28T06:20:08.608" v="509"/>
          <ac:grpSpMkLst>
            <pc:docMk/>
            <pc:sldMk cId="2023129455" sldId="256"/>
            <ac:grpSpMk id="23" creationId="{5141522D-FAE1-996A-ADDA-38AA98FA1D66}"/>
          </ac:grpSpMkLst>
        </pc:grpChg>
        <pc:grpChg chg="add del mod">
          <ac:chgData name="Chamaria, Shridhar" userId="8333b265-e735-45f8-a921-ce459cc3483a" providerId="ADAL" clId="{12222100-8A08-4DD9-9435-7250C517DBE6}" dt="2025-05-28T06:21:16.506" v="597"/>
          <ac:grpSpMkLst>
            <pc:docMk/>
            <pc:sldMk cId="2023129455" sldId="256"/>
            <ac:grpSpMk id="50" creationId="{A1C31B2F-A5EF-0795-DC31-486817A314F8}"/>
          </ac:grpSpMkLst>
        </pc:grpChg>
        <pc:grpChg chg="mod ord">
          <ac:chgData name="Chamaria, Shridhar" userId="8333b265-e735-45f8-a921-ce459cc3483a" providerId="ADAL" clId="{12222100-8A08-4DD9-9435-7250C517DBE6}" dt="2025-05-28T06:20:08.608" v="518"/>
          <ac:grpSpMkLst>
            <pc:docMk/>
            <pc:sldMk cId="2023129455" sldId="256"/>
            <ac:grpSpMk id="51" creationId="{C7110E86-14CD-A2AB-DB0D-E394B07BD61E}"/>
          </ac:grpSpMkLst>
        </pc:grpChg>
        <pc:grpChg chg="mod">
          <ac:chgData name="Chamaria, Shridhar" userId="8333b265-e735-45f8-a921-ce459cc3483a" providerId="ADAL" clId="{12222100-8A08-4DD9-9435-7250C517DBE6}" dt="2025-05-28T06:20:08.608" v="497"/>
          <ac:grpSpMkLst>
            <pc:docMk/>
            <pc:sldMk cId="2023129455" sldId="256"/>
            <ac:grpSpMk id="70" creationId="{DEF1C017-13AF-B8C7-A943-C4CC41D16474}"/>
          </ac:grpSpMkLst>
        </pc:grpChg>
        <pc:grpChg chg="mod">
          <ac:chgData name="Chamaria, Shridhar" userId="8333b265-e735-45f8-a921-ce459cc3483a" providerId="ADAL" clId="{12222100-8A08-4DD9-9435-7250C517DBE6}" dt="2025-05-28T06:20:08.608" v="496"/>
          <ac:grpSpMkLst>
            <pc:docMk/>
            <pc:sldMk cId="2023129455" sldId="256"/>
            <ac:grpSpMk id="72" creationId="{DC1E885E-663B-A904-0D4B-C89D30AF7DFE}"/>
          </ac:grpSpMkLst>
        </pc:grpChg>
        <pc:grpChg chg="mod ord">
          <ac:chgData name="Chamaria, Shridhar" userId="8333b265-e735-45f8-a921-ce459cc3483a" providerId="ADAL" clId="{12222100-8A08-4DD9-9435-7250C517DBE6}" dt="2025-05-28T06:20:08.608" v="503"/>
          <ac:grpSpMkLst>
            <pc:docMk/>
            <pc:sldMk cId="2023129455" sldId="256"/>
            <ac:grpSpMk id="82" creationId="{E675391D-4430-4FDE-1D56-2F5AEF967278}"/>
          </ac:grpSpMkLst>
        </pc:grpChg>
        <pc:graphicFrameChg chg="mod">
          <ac:chgData name="Chamaria, Shridhar" userId="8333b265-e735-45f8-a921-ce459cc3483a" providerId="ADAL" clId="{12222100-8A08-4DD9-9435-7250C517DBE6}" dt="2025-05-28T06:20:34.008" v="576"/>
          <ac:graphicFrameMkLst>
            <pc:docMk/>
            <pc:sldMk cId="2023129455" sldId="256"/>
            <ac:graphicFrameMk id="5" creationId="{2B853931-AB6B-FB66-74D4-0F1DA95A22FB}"/>
          </ac:graphicFrameMkLst>
        </pc:graphicFrameChg>
        <pc:picChg chg="del mod">
          <ac:chgData name="Chamaria, Shridhar" userId="8333b265-e735-45f8-a921-ce459cc3483a" providerId="ADAL" clId="{12222100-8A08-4DD9-9435-7250C517DBE6}" dt="2025-05-28T06:20:05.623" v="481" actId="478"/>
          <ac:picMkLst>
            <pc:docMk/>
            <pc:sldMk cId="2023129455" sldId="256"/>
            <ac:picMk id="4" creationId="{4039D71E-C552-501F-70B8-E0228CF58D04}"/>
          </ac:picMkLst>
        </pc:picChg>
        <pc:picChg chg="del">
          <ac:chgData name="Chamaria, Shridhar" userId="8333b265-e735-45f8-a921-ce459cc3483a" providerId="ADAL" clId="{12222100-8A08-4DD9-9435-7250C517DBE6}" dt="2025-05-28T06:19:57.134" v="397" actId="478"/>
          <ac:picMkLst>
            <pc:docMk/>
            <pc:sldMk cId="2023129455" sldId="256"/>
            <ac:picMk id="11" creationId="{6D8053CF-8010-6FB9-6A12-CC2A3FF8A0A3}"/>
          </ac:picMkLst>
        </pc:picChg>
        <pc:picChg chg="del">
          <ac:chgData name="Chamaria, Shridhar" userId="8333b265-e735-45f8-a921-ce459cc3483a" providerId="ADAL" clId="{12222100-8A08-4DD9-9435-7250C517DBE6}" dt="2025-05-28T06:19:57.134" v="397" actId="478"/>
          <ac:picMkLst>
            <pc:docMk/>
            <pc:sldMk cId="2023129455" sldId="256"/>
            <ac:picMk id="12" creationId="{2E65E8D8-F5FF-40F1-342A-BA7FE0994929}"/>
          </ac:picMkLst>
        </pc:picChg>
        <pc:picChg chg="del">
          <ac:chgData name="Chamaria, Shridhar" userId="8333b265-e735-45f8-a921-ce459cc3483a" providerId="ADAL" clId="{12222100-8A08-4DD9-9435-7250C517DBE6}" dt="2025-05-28T06:19:57.134" v="397" actId="478"/>
          <ac:picMkLst>
            <pc:docMk/>
            <pc:sldMk cId="2023129455" sldId="256"/>
            <ac:picMk id="13" creationId="{7554B49B-6EC0-19D3-8D28-5FCDA2171D4D}"/>
          </ac:picMkLst>
        </pc:picChg>
        <pc:picChg chg="del">
          <ac:chgData name="Chamaria, Shridhar" userId="8333b265-e735-45f8-a921-ce459cc3483a" providerId="ADAL" clId="{12222100-8A08-4DD9-9435-7250C517DBE6}" dt="2025-05-28T06:19:57.134" v="397" actId="478"/>
          <ac:picMkLst>
            <pc:docMk/>
            <pc:sldMk cId="2023129455" sldId="256"/>
            <ac:picMk id="14" creationId="{A1BB5ADE-0A4D-C58C-199C-AB59FA7A832F}"/>
          </ac:picMkLst>
        </pc:picChg>
        <pc:picChg chg="del">
          <ac:chgData name="Chamaria, Shridhar" userId="8333b265-e735-45f8-a921-ce459cc3483a" providerId="ADAL" clId="{12222100-8A08-4DD9-9435-7250C517DBE6}" dt="2025-05-28T06:19:57.134" v="397" actId="478"/>
          <ac:picMkLst>
            <pc:docMk/>
            <pc:sldMk cId="2023129455" sldId="256"/>
            <ac:picMk id="15" creationId="{CF282487-961C-E1FC-C8E1-84A03A555EB3}"/>
          </ac:picMkLst>
        </pc:picChg>
        <pc:picChg chg="mod ord">
          <ac:chgData name="Chamaria, Shridhar" userId="8333b265-e735-45f8-a921-ce459cc3483a" providerId="ADAL" clId="{12222100-8A08-4DD9-9435-7250C517DBE6}" dt="2025-05-28T06:20:08.608" v="516"/>
          <ac:picMkLst>
            <pc:docMk/>
            <pc:sldMk cId="2023129455" sldId="256"/>
            <ac:picMk id="48" creationId="{AA2E91C8-F249-47A7-871C-BDC1A3B12C44}"/>
          </ac:picMkLst>
        </pc:picChg>
        <pc:picChg chg="add mod ord">
          <ac:chgData name="Chamaria, Shridhar" userId="8333b265-e735-45f8-a921-ce459cc3483a" providerId="ADAL" clId="{12222100-8A08-4DD9-9435-7250C517DBE6}" dt="2025-05-28T06:21:16.453" v="587"/>
          <ac:picMkLst>
            <pc:docMk/>
            <pc:sldMk cId="2023129455" sldId="256"/>
            <ac:picMk id="49" creationId="{05C0953F-2957-D662-CEF7-323CC93662B8}"/>
          </ac:picMkLst>
        </pc:picChg>
        <pc:picChg chg="mod ord">
          <ac:chgData name="Chamaria, Shridhar" userId="8333b265-e735-45f8-a921-ce459cc3483a" providerId="ADAL" clId="{12222100-8A08-4DD9-9435-7250C517DBE6}" dt="2025-05-28T06:20:08.608" v="505"/>
          <ac:picMkLst>
            <pc:docMk/>
            <pc:sldMk cId="2023129455" sldId="256"/>
            <ac:picMk id="95" creationId="{48E2E343-7D67-ADF1-64D2-71E05D8F32FE}"/>
          </ac:picMkLst>
        </pc:picChg>
      </pc:sldChg>
      <pc:sldChg chg="addSp delSp modSp mod">
        <pc:chgData name="Chamaria, Shridhar" userId="8333b265-e735-45f8-a921-ce459cc3483a" providerId="ADAL" clId="{12222100-8A08-4DD9-9435-7250C517DBE6}" dt="2025-05-28T06:25:46.178" v="795"/>
        <pc:sldMkLst>
          <pc:docMk/>
          <pc:sldMk cId="2964178865" sldId="257"/>
        </pc:sldMkLst>
        <pc:spChg chg="mod">
          <ac:chgData name="Chamaria, Shridhar" userId="8333b265-e735-45f8-a921-ce459cc3483a" providerId="ADAL" clId="{12222100-8A08-4DD9-9435-7250C517DBE6}" dt="2025-05-28T06:22:55.465" v="658" actId="948"/>
          <ac:spMkLst>
            <pc:docMk/>
            <pc:sldMk cId="2964178865" sldId="257"/>
            <ac:spMk id="2" creationId="{00000000-0000-0000-0000-000000000000}"/>
          </ac:spMkLst>
        </pc:spChg>
        <pc:spChg chg="add del mod modVis">
          <ac:chgData name="Chamaria, Shridhar" userId="8333b265-e735-45f8-a921-ce459cc3483a" providerId="ADAL" clId="{12222100-8A08-4DD9-9435-7250C517DBE6}" dt="2025-05-28T06:22:51.930" v="649"/>
          <ac:spMkLst>
            <pc:docMk/>
            <pc:sldMk cId="2964178865" sldId="257"/>
            <ac:spMk id="4" creationId="{3C6B24C0-3E44-BE0E-8D5D-3FF7C0A62302}"/>
          </ac:spMkLst>
        </pc:spChg>
        <pc:spChg chg="add mod">
          <ac:chgData name="Chamaria, Shridhar" userId="8333b265-e735-45f8-a921-ce459cc3483a" providerId="ADAL" clId="{12222100-8A08-4DD9-9435-7250C517DBE6}" dt="2025-05-28T06:24:27.089" v="792" actId="1037"/>
          <ac:spMkLst>
            <pc:docMk/>
            <pc:sldMk cId="2964178865" sldId="257"/>
            <ac:spMk id="5" creationId="{0738AE9E-15F3-8EBA-7D75-745D8D825F13}"/>
          </ac:spMkLst>
        </pc:spChg>
        <pc:spChg chg="add mod">
          <ac:chgData name="Chamaria, Shridhar" userId="8333b265-e735-45f8-a921-ce459cc3483a" providerId="ADAL" clId="{12222100-8A08-4DD9-9435-7250C517DBE6}" dt="2025-05-28T06:24:27.089" v="792" actId="1037"/>
          <ac:spMkLst>
            <pc:docMk/>
            <pc:sldMk cId="2964178865" sldId="257"/>
            <ac:spMk id="8" creationId="{F34D4A89-2402-DEF7-F7AF-7F0A5C875664}"/>
          </ac:spMkLst>
        </pc:spChg>
        <pc:spChg chg="add mod">
          <ac:chgData name="Chamaria, Shridhar" userId="8333b265-e735-45f8-a921-ce459cc3483a" providerId="ADAL" clId="{12222100-8A08-4DD9-9435-7250C517DBE6}" dt="2025-05-28T06:24:27.089" v="792" actId="1037"/>
          <ac:spMkLst>
            <pc:docMk/>
            <pc:sldMk cId="2964178865" sldId="257"/>
            <ac:spMk id="14" creationId="{67297AB4-9067-EE67-4889-79213B86648F}"/>
          </ac:spMkLst>
        </pc:spChg>
        <pc:spChg chg="mod">
          <ac:chgData name="Chamaria, Shridhar" userId="8333b265-e735-45f8-a921-ce459cc3483a" providerId="ADAL" clId="{12222100-8A08-4DD9-9435-7250C517DBE6}" dt="2025-05-28T06:25:46.178" v="795"/>
          <ac:spMkLst>
            <pc:docMk/>
            <pc:sldMk cId="2964178865" sldId="257"/>
            <ac:spMk id="17" creationId="{00000000-0000-0000-0000-000000000000}"/>
          </ac:spMkLst>
        </pc:spChg>
        <pc:spChg chg="add mod">
          <ac:chgData name="Chamaria, Shridhar" userId="8333b265-e735-45f8-a921-ce459cc3483a" providerId="ADAL" clId="{12222100-8A08-4DD9-9435-7250C517DBE6}" dt="2025-05-28T06:24:27.089" v="792" actId="1037"/>
          <ac:spMkLst>
            <pc:docMk/>
            <pc:sldMk cId="2964178865" sldId="257"/>
            <ac:spMk id="19" creationId="{003BD610-4716-EB5A-E093-00A9E47090E1}"/>
          </ac:spMkLst>
        </pc:spChg>
        <pc:spChg chg="add mod">
          <ac:chgData name="Chamaria, Shridhar" userId="8333b265-e735-45f8-a921-ce459cc3483a" providerId="ADAL" clId="{12222100-8A08-4DD9-9435-7250C517DBE6}" dt="2025-05-28T06:24:27.089" v="792" actId="1037"/>
          <ac:spMkLst>
            <pc:docMk/>
            <pc:sldMk cId="2964178865" sldId="257"/>
            <ac:spMk id="37" creationId="{3FB3053A-3C4F-F19E-89A8-0DC6043CF74E}"/>
          </ac:spMkLst>
        </pc:spChg>
        <pc:spChg chg="add mod">
          <ac:chgData name="Chamaria, Shridhar" userId="8333b265-e735-45f8-a921-ce459cc3483a" providerId="ADAL" clId="{12222100-8A08-4DD9-9435-7250C517DBE6}" dt="2025-05-28T06:24:27.089" v="792" actId="1037"/>
          <ac:spMkLst>
            <pc:docMk/>
            <pc:sldMk cId="2964178865" sldId="257"/>
            <ac:spMk id="43" creationId="{8D24C218-C020-642E-A368-4EB921B07791}"/>
          </ac:spMkLst>
        </pc:spChg>
        <pc:spChg chg="add mod">
          <ac:chgData name="Chamaria, Shridhar" userId="8333b265-e735-45f8-a921-ce459cc3483a" providerId="ADAL" clId="{12222100-8A08-4DD9-9435-7250C517DBE6}" dt="2025-05-28T06:24:27.089" v="792" actId="1037"/>
          <ac:spMkLst>
            <pc:docMk/>
            <pc:sldMk cId="2964178865" sldId="257"/>
            <ac:spMk id="44" creationId="{FC0D3218-B28F-73F8-B0D1-DDC984D63500}"/>
          </ac:spMkLst>
        </pc:spChg>
        <pc:grpChg chg="del">
          <ac:chgData name="Chamaria, Shridhar" userId="8333b265-e735-45f8-a921-ce459cc3483a" providerId="ADAL" clId="{12222100-8A08-4DD9-9435-7250C517DBE6}" dt="2025-05-28T06:24:20.348" v="767" actId="478"/>
          <ac:grpSpMkLst>
            <pc:docMk/>
            <pc:sldMk cId="2964178865" sldId="257"/>
            <ac:grpSpMk id="52" creationId="{786C8A95-F68D-E16E-CA0B-A565BE170900}"/>
          </ac:grpSpMkLst>
        </pc:grpChg>
        <pc:graphicFrameChg chg="mod">
          <ac:chgData name="Chamaria, Shridhar" userId="8333b265-e735-45f8-a921-ce459cc3483a" providerId="ADAL" clId="{12222100-8A08-4DD9-9435-7250C517DBE6}" dt="2025-05-28T06:22:55.481" v="660"/>
          <ac:graphicFrameMkLst>
            <pc:docMk/>
            <pc:sldMk cId="2964178865" sldId="257"/>
            <ac:graphicFrameMk id="16" creationId="{59D4C76B-66ED-BC0B-2FFE-5F43CD477F4B}"/>
          </ac:graphicFrameMkLst>
        </pc:graphicFrameChg>
        <pc:picChg chg="del">
          <ac:chgData name="Chamaria, Shridhar" userId="8333b265-e735-45f8-a921-ce459cc3483a" providerId="ADAL" clId="{12222100-8A08-4DD9-9435-7250C517DBE6}" dt="2025-05-28T06:24:20.348" v="767" actId="478"/>
          <ac:picMkLst>
            <pc:docMk/>
            <pc:sldMk cId="2964178865" sldId="257"/>
            <ac:picMk id="25" creationId="{2FC00E5D-7751-CAB5-C45C-9CE94B37AAAE}"/>
          </ac:picMkLst>
        </pc:picChg>
        <pc:picChg chg="del">
          <ac:chgData name="Chamaria, Shridhar" userId="8333b265-e735-45f8-a921-ce459cc3483a" providerId="ADAL" clId="{12222100-8A08-4DD9-9435-7250C517DBE6}" dt="2025-05-28T06:24:20.348" v="767" actId="478"/>
          <ac:picMkLst>
            <pc:docMk/>
            <pc:sldMk cId="2964178865" sldId="257"/>
            <ac:picMk id="27" creationId="{FFFB9FB4-C42C-D372-9121-199EEA45D80E}"/>
          </ac:picMkLst>
        </pc:picChg>
        <pc:picChg chg="del">
          <ac:chgData name="Chamaria, Shridhar" userId="8333b265-e735-45f8-a921-ce459cc3483a" providerId="ADAL" clId="{12222100-8A08-4DD9-9435-7250C517DBE6}" dt="2025-05-28T06:24:20.348" v="767" actId="478"/>
          <ac:picMkLst>
            <pc:docMk/>
            <pc:sldMk cId="2964178865" sldId="257"/>
            <ac:picMk id="28" creationId="{7842AFB6-EAEF-CEDA-47FA-793287FDF4ED}"/>
          </ac:picMkLst>
        </pc:picChg>
        <pc:picChg chg="del">
          <ac:chgData name="Chamaria, Shridhar" userId="8333b265-e735-45f8-a921-ce459cc3483a" providerId="ADAL" clId="{12222100-8A08-4DD9-9435-7250C517DBE6}" dt="2025-05-28T06:24:20.348" v="767" actId="478"/>
          <ac:picMkLst>
            <pc:docMk/>
            <pc:sldMk cId="2964178865" sldId="257"/>
            <ac:picMk id="29" creationId="{FD610AE6-FEE2-5992-AE23-5442FCCEEE4D}"/>
          </ac:picMkLst>
        </pc:picChg>
        <pc:picChg chg="del">
          <ac:chgData name="Chamaria, Shridhar" userId="8333b265-e735-45f8-a921-ce459cc3483a" providerId="ADAL" clId="{12222100-8A08-4DD9-9435-7250C517DBE6}" dt="2025-05-28T06:24:20.348" v="767" actId="478"/>
          <ac:picMkLst>
            <pc:docMk/>
            <pc:sldMk cId="2964178865" sldId="257"/>
            <ac:picMk id="30" creationId="{6176F2A6-BEA7-A250-15AA-A674390A2873}"/>
          </ac:picMkLst>
        </pc:picChg>
        <pc:picChg chg="del">
          <ac:chgData name="Chamaria, Shridhar" userId="8333b265-e735-45f8-a921-ce459cc3483a" providerId="ADAL" clId="{12222100-8A08-4DD9-9435-7250C517DBE6}" dt="2025-05-28T06:24:20.348" v="767" actId="478"/>
          <ac:picMkLst>
            <pc:docMk/>
            <pc:sldMk cId="2964178865" sldId="257"/>
            <ac:picMk id="35" creationId="{1C551ED7-D4BD-368A-21CF-34F2FCE267F2}"/>
          </ac:picMkLst>
        </pc:picChg>
      </pc:sldChg>
      <pc:sldChg chg="addSp delSp modSp mod">
        <pc:chgData name="Chamaria, Shridhar" userId="8333b265-e735-45f8-a921-ce459cc3483a" providerId="ADAL" clId="{12222100-8A08-4DD9-9435-7250C517DBE6}" dt="2025-05-28T06:18:00.450" v="167"/>
        <pc:sldMkLst>
          <pc:docMk/>
          <pc:sldMk cId="2970641715" sldId="2147483647"/>
        </pc:sldMkLst>
        <pc:spChg chg="mod">
          <ac:chgData name="Chamaria, Shridhar" userId="8333b265-e735-45f8-a921-ce459cc3483a" providerId="ADAL" clId="{12222100-8A08-4DD9-9435-7250C517DBE6}" dt="2025-05-28T06:18:00.450" v="167"/>
          <ac:spMkLst>
            <pc:docMk/>
            <pc:sldMk cId="2970641715" sldId="2147483647"/>
            <ac:spMk id="2" creationId="{7D251B77-C3C8-D1BB-FB9F-9D62D98ACF2A}"/>
          </ac:spMkLst>
        </pc:spChg>
        <pc:spChg chg="add del mod modVis">
          <ac:chgData name="Chamaria, Shridhar" userId="8333b265-e735-45f8-a921-ce459cc3483a" providerId="ADAL" clId="{12222100-8A08-4DD9-9435-7250C517DBE6}" dt="2025-05-28T06:10:49.238" v="61"/>
          <ac:spMkLst>
            <pc:docMk/>
            <pc:sldMk cId="2970641715" sldId="2147483647"/>
            <ac:spMk id="4" creationId="{3C99A85E-57BB-BDF2-52AA-057E21449FE5}"/>
          </ac:spMkLst>
        </pc:spChg>
        <pc:spChg chg="add mod">
          <ac:chgData name="Chamaria, Shridhar" userId="8333b265-e735-45f8-a921-ce459cc3483a" providerId="ADAL" clId="{12222100-8A08-4DD9-9435-7250C517DBE6}" dt="2025-05-28T06:12:51.728" v="117" actId="207"/>
          <ac:spMkLst>
            <pc:docMk/>
            <pc:sldMk cId="2970641715" sldId="2147483647"/>
            <ac:spMk id="6" creationId="{DB733F10-7B98-343D-3256-D387FA6FE9A2}"/>
          </ac:spMkLst>
        </pc:spChg>
        <pc:spChg chg="mod">
          <ac:chgData name="Chamaria, Shridhar" userId="8333b265-e735-45f8-a921-ce459cc3483a" providerId="ADAL" clId="{12222100-8A08-4DD9-9435-7250C517DBE6}" dt="2025-05-28T06:11:06.605" v="88" actId="948"/>
          <ac:spMkLst>
            <pc:docMk/>
            <pc:sldMk cId="2970641715" sldId="2147483647"/>
            <ac:spMk id="7" creationId="{00000000-0000-0000-0000-000000000000}"/>
          </ac:spMkLst>
        </pc:spChg>
        <pc:spChg chg="add mod">
          <ac:chgData name="Chamaria, Shridhar" userId="8333b265-e735-45f8-a921-ce459cc3483a" providerId="ADAL" clId="{12222100-8A08-4DD9-9435-7250C517DBE6}" dt="2025-05-28T06:13:00.324" v="121" actId="20577"/>
          <ac:spMkLst>
            <pc:docMk/>
            <pc:sldMk cId="2970641715" sldId="2147483647"/>
            <ac:spMk id="9" creationId="{244D1E88-CB51-4E07-29B7-9C50387FAF95}"/>
          </ac:spMkLst>
        </pc:spChg>
        <pc:spChg chg="add mod">
          <ac:chgData name="Chamaria, Shridhar" userId="8333b265-e735-45f8-a921-ce459cc3483a" providerId="ADAL" clId="{12222100-8A08-4DD9-9435-7250C517DBE6}" dt="2025-05-28T06:13:22.581" v="130" actId="207"/>
          <ac:spMkLst>
            <pc:docMk/>
            <pc:sldMk cId="2970641715" sldId="2147483647"/>
            <ac:spMk id="11" creationId="{BCFCF0C6-B1FE-6F3D-ED14-3131038D1F49}"/>
          </ac:spMkLst>
        </pc:spChg>
        <pc:spChg chg="mod">
          <ac:chgData name="Chamaria, Shridhar" userId="8333b265-e735-45f8-a921-ce459cc3483a" providerId="ADAL" clId="{12222100-8A08-4DD9-9435-7250C517DBE6}" dt="2025-05-28T06:14:40.861" v="153"/>
          <ac:spMkLst>
            <pc:docMk/>
            <pc:sldMk cId="2970641715" sldId="2147483647"/>
            <ac:spMk id="37" creationId="{DD351923-AAC1-EC85-A5C3-C3A28517E7E7}"/>
          </ac:spMkLst>
        </pc:spChg>
        <pc:spChg chg="add mod">
          <ac:chgData name="Chamaria, Shridhar" userId="8333b265-e735-45f8-a921-ce459cc3483a" providerId="ADAL" clId="{12222100-8A08-4DD9-9435-7250C517DBE6}" dt="2025-05-28T06:15:54.091" v="155" actId="20577"/>
          <ac:spMkLst>
            <pc:docMk/>
            <pc:sldMk cId="2970641715" sldId="2147483647"/>
            <ac:spMk id="49" creationId="{E8EA0C4A-4E30-6C40-8C68-5B488DFE7CBB}"/>
          </ac:spMkLst>
        </pc:spChg>
        <pc:spChg chg="add mod">
          <ac:chgData name="Chamaria, Shridhar" userId="8333b265-e735-45f8-a921-ce459cc3483a" providerId="ADAL" clId="{12222100-8A08-4DD9-9435-7250C517DBE6}" dt="2025-05-28T06:15:56.328" v="157" actId="20577"/>
          <ac:spMkLst>
            <pc:docMk/>
            <pc:sldMk cId="2970641715" sldId="2147483647"/>
            <ac:spMk id="50" creationId="{4C85085A-ECB8-61C7-B537-DAA1936C3338}"/>
          </ac:spMkLst>
        </pc:spChg>
        <pc:spChg chg="add mod">
          <ac:chgData name="Chamaria, Shridhar" userId="8333b265-e735-45f8-a921-ce459cc3483a" providerId="ADAL" clId="{12222100-8A08-4DD9-9435-7250C517DBE6}" dt="2025-05-28T06:15:58.316" v="159" actId="20577"/>
          <ac:spMkLst>
            <pc:docMk/>
            <pc:sldMk cId="2970641715" sldId="2147483647"/>
            <ac:spMk id="51" creationId="{9FCD1647-8CC7-E01C-EC06-17BE7E538AE8}"/>
          </ac:spMkLst>
        </pc:spChg>
        <pc:spChg chg="add mod">
          <ac:chgData name="Chamaria, Shridhar" userId="8333b265-e735-45f8-a921-ce459cc3483a" providerId="ADAL" clId="{12222100-8A08-4DD9-9435-7250C517DBE6}" dt="2025-05-28T06:16:01.406" v="161" actId="20577"/>
          <ac:spMkLst>
            <pc:docMk/>
            <pc:sldMk cId="2970641715" sldId="2147483647"/>
            <ac:spMk id="56" creationId="{3C08BA39-0489-C028-30EF-E99A770F15D7}"/>
          </ac:spMkLst>
        </pc:spChg>
        <pc:spChg chg="add mod">
          <ac:chgData name="Chamaria, Shridhar" userId="8333b265-e735-45f8-a921-ce459cc3483a" providerId="ADAL" clId="{12222100-8A08-4DD9-9435-7250C517DBE6}" dt="2025-05-28T06:14:24.816" v="150" actId="1076"/>
          <ac:spMkLst>
            <pc:docMk/>
            <pc:sldMk cId="2970641715" sldId="2147483647"/>
            <ac:spMk id="58" creationId="{EED55650-E2B6-80FA-8C11-BD2ABD038905}"/>
          </ac:spMkLst>
        </pc:spChg>
        <pc:spChg chg="add mod">
          <ac:chgData name="Chamaria, Shridhar" userId="8333b265-e735-45f8-a921-ce459cc3483a" providerId="ADAL" clId="{12222100-8A08-4DD9-9435-7250C517DBE6}" dt="2025-05-28T06:14:21.041" v="149" actId="1076"/>
          <ac:spMkLst>
            <pc:docMk/>
            <pc:sldMk cId="2970641715" sldId="2147483647"/>
            <ac:spMk id="59" creationId="{87B25681-B45F-AB3D-A3B5-B8FBA218E54F}"/>
          </ac:spMkLst>
        </pc:spChg>
        <pc:spChg chg="mod">
          <ac:chgData name="Chamaria, Shridhar" userId="8333b265-e735-45f8-a921-ce459cc3483a" providerId="ADAL" clId="{12222100-8A08-4DD9-9435-7250C517DBE6}" dt="2025-05-28T06:10:32.447" v="26" actId="20577"/>
          <ac:spMkLst>
            <pc:docMk/>
            <pc:sldMk cId="2970641715" sldId="2147483647"/>
            <ac:spMk id="65" creationId="{EF1711DC-C260-414A-B6B3-3E28E4139F52}"/>
          </ac:spMkLst>
        </pc:spChg>
        <pc:grpChg chg="del">
          <ac:chgData name="Chamaria, Shridhar" userId="8333b265-e735-45f8-a921-ce459cc3483a" providerId="ADAL" clId="{12222100-8A08-4DD9-9435-7250C517DBE6}" dt="2025-05-28T06:09:41.421" v="3" actId="478"/>
          <ac:grpSpMkLst>
            <pc:docMk/>
            <pc:sldMk cId="2970641715" sldId="2147483647"/>
            <ac:grpSpMk id="46" creationId="{AA06448D-6A87-F4D5-8519-C745EAA07A62}"/>
          </ac:grpSpMkLst>
        </pc:grpChg>
        <pc:graphicFrameChg chg="mod">
          <ac:chgData name="Chamaria, Shridhar" userId="8333b265-e735-45f8-a921-ce459cc3483a" providerId="ADAL" clId="{12222100-8A08-4DD9-9435-7250C517DBE6}" dt="2025-05-28T06:11:06.605" v="90"/>
          <ac:graphicFrameMkLst>
            <pc:docMk/>
            <pc:sldMk cId="2970641715" sldId="2147483647"/>
            <ac:graphicFrameMk id="22" creationId="{6FC0EEC8-E9F4-B698-8C6D-EFE8477B6087}"/>
          </ac:graphicFrameMkLst>
        </pc:graphicFrameChg>
        <pc:picChg chg="del">
          <ac:chgData name="Chamaria, Shridhar" userId="8333b265-e735-45f8-a921-ce459cc3483a" providerId="ADAL" clId="{12222100-8A08-4DD9-9435-7250C517DBE6}" dt="2025-05-28T06:09:41.421" v="3" actId="478"/>
          <ac:picMkLst>
            <pc:docMk/>
            <pc:sldMk cId="2970641715" sldId="2147483647"/>
            <ac:picMk id="10" creationId="{B784E751-2254-F60B-1647-541F389D5641}"/>
          </ac:picMkLst>
        </pc:picChg>
        <pc:picChg chg="del">
          <ac:chgData name="Chamaria, Shridhar" userId="8333b265-e735-45f8-a921-ce459cc3483a" providerId="ADAL" clId="{12222100-8A08-4DD9-9435-7250C517DBE6}" dt="2025-05-28T06:09:41.421" v="3" actId="478"/>
          <ac:picMkLst>
            <pc:docMk/>
            <pc:sldMk cId="2970641715" sldId="2147483647"/>
            <ac:picMk id="38" creationId="{F6FC1D8D-0A7A-9B18-A399-2C70300269E6}"/>
          </ac:picMkLst>
        </pc:picChg>
        <pc:picChg chg="del">
          <ac:chgData name="Chamaria, Shridhar" userId="8333b265-e735-45f8-a921-ce459cc3483a" providerId="ADAL" clId="{12222100-8A08-4DD9-9435-7250C517DBE6}" dt="2025-05-28T06:09:41.421" v="3" actId="478"/>
          <ac:picMkLst>
            <pc:docMk/>
            <pc:sldMk cId="2970641715" sldId="2147483647"/>
            <ac:picMk id="39" creationId="{AB2C0AF0-835D-62C4-9F08-1D87CA84CB2B}"/>
          </ac:picMkLst>
        </pc:picChg>
        <pc:picChg chg="del">
          <ac:chgData name="Chamaria, Shridhar" userId="8333b265-e735-45f8-a921-ce459cc3483a" providerId="ADAL" clId="{12222100-8A08-4DD9-9435-7250C517DBE6}" dt="2025-05-28T06:09:41.421" v="3" actId="478"/>
          <ac:picMkLst>
            <pc:docMk/>
            <pc:sldMk cId="2970641715" sldId="2147483647"/>
            <ac:picMk id="40" creationId="{F4C1CE00-EF28-2EAA-771A-C4365CAD19FC}"/>
          </ac:picMkLst>
        </pc:picChg>
        <pc:picChg chg="del">
          <ac:chgData name="Chamaria, Shridhar" userId="8333b265-e735-45f8-a921-ce459cc3483a" providerId="ADAL" clId="{12222100-8A08-4DD9-9435-7250C517DBE6}" dt="2025-05-28T06:09:41.421" v="3" actId="478"/>
          <ac:picMkLst>
            <pc:docMk/>
            <pc:sldMk cId="2970641715" sldId="2147483647"/>
            <ac:picMk id="41" creationId="{F539CB72-6263-06E7-33A1-4ECAEB073B97}"/>
          </ac:picMkLst>
        </pc:picChg>
        <pc:picChg chg="del">
          <ac:chgData name="Chamaria, Shridhar" userId="8333b265-e735-45f8-a921-ce459cc3483a" providerId="ADAL" clId="{12222100-8A08-4DD9-9435-7250C517DBE6}" dt="2025-05-28T06:09:41.421" v="3" actId="478"/>
          <ac:picMkLst>
            <pc:docMk/>
            <pc:sldMk cId="2970641715" sldId="2147483647"/>
            <ac:picMk id="42" creationId="{F414FB82-8E63-B534-FE41-39ADEED1EDCF}"/>
          </ac:picMkLst>
        </pc:picChg>
        <pc:picChg chg="del">
          <ac:chgData name="Chamaria, Shridhar" userId="8333b265-e735-45f8-a921-ce459cc3483a" providerId="ADAL" clId="{12222100-8A08-4DD9-9435-7250C517DBE6}" dt="2025-05-28T06:14:16.035" v="147" actId="478"/>
          <ac:picMkLst>
            <pc:docMk/>
            <pc:sldMk cId="2970641715" sldId="2147483647"/>
            <ac:picMk id="62" creationId="{E957E49B-7F62-4C23-E69A-123CF6CDD3DC}"/>
          </ac:picMkLst>
        </pc:picChg>
        <pc:picChg chg="del">
          <ac:chgData name="Chamaria, Shridhar" userId="8333b265-e735-45f8-a921-ce459cc3483a" providerId="ADAL" clId="{12222100-8A08-4DD9-9435-7250C517DBE6}" dt="2025-05-28T06:14:16.732" v="148" actId="478"/>
          <ac:picMkLst>
            <pc:docMk/>
            <pc:sldMk cId="2970641715" sldId="2147483647"/>
            <ac:picMk id="72" creationId="{E81CC8FB-99A5-C1D4-7D53-454D999B224F}"/>
          </ac:picMkLst>
        </pc:picChg>
      </pc:sldChg>
    </pc:docChg>
  </pc:docChgLst>
  <pc:docChgLst>
    <pc:chgData name="Chamaria, Shridhar" userId="8333b265-e735-45f8-a921-ce459cc3483a" providerId="ADAL" clId="{00A677B5-9C4F-42CA-8585-CDD7D0F65D83}"/>
    <pc:docChg chg="custSel modSld">
      <pc:chgData name="Chamaria, Shridhar" userId="8333b265-e735-45f8-a921-ce459cc3483a" providerId="ADAL" clId="{00A677B5-9C4F-42CA-8585-CDD7D0F65D83}" dt="2025-05-29T11:17:51.454" v="56"/>
      <pc:docMkLst>
        <pc:docMk/>
      </pc:docMkLst>
      <pc:sldChg chg="addSp delSp modSp mod">
        <pc:chgData name="Chamaria, Shridhar" userId="8333b265-e735-45f8-a921-ce459cc3483a" providerId="ADAL" clId="{00A677B5-9C4F-42CA-8585-CDD7D0F65D83}" dt="2025-05-29T11:17:51.454" v="56"/>
        <pc:sldMkLst>
          <pc:docMk/>
          <pc:sldMk cId="3147993296" sldId="326"/>
        </pc:sldMkLst>
        <pc:spChg chg="add del mod modVis">
          <ac:chgData name="Chamaria, Shridhar" userId="8333b265-e735-45f8-a921-ce459cc3483a" providerId="ADAL" clId="{00A677B5-9C4F-42CA-8585-CDD7D0F65D83}" dt="2025-05-29T11:17:42.116" v="29"/>
          <ac:spMkLst>
            <pc:docMk/>
            <pc:sldMk cId="3147993296" sldId="326"/>
            <ac:spMk id="2" creationId="{48844ED3-D220-C4C0-1F82-38F294EFF0E1}"/>
          </ac:spMkLst>
        </pc:spChg>
        <pc:spChg chg="mod">
          <ac:chgData name="Chamaria, Shridhar" userId="8333b265-e735-45f8-a921-ce459cc3483a" providerId="ADAL" clId="{00A677B5-9C4F-42CA-8585-CDD7D0F65D83}" dt="2025-05-29T11:17:51.454" v="54" actId="948"/>
          <ac:spMkLst>
            <pc:docMk/>
            <pc:sldMk cId="3147993296" sldId="326"/>
            <ac:spMk id="3" creationId="{FBD7D053-33B8-42F5-A1D9-DB27B4FBC23D}"/>
          </ac:spMkLst>
        </pc:spChg>
        <pc:graphicFrameChg chg="mod">
          <ac:chgData name="Chamaria, Shridhar" userId="8333b265-e735-45f8-a921-ce459cc3483a" providerId="ADAL" clId="{00A677B5-9C4F-42CA-8585-CDD7D0F65D83}" dt="2025-05-29T11:17:51.454" v="56"/>
          <ac:graphicFrameMkLst>
            <pc:docMk/>
            <pc:sldMk cId="3147993296" sldId="326"/>
            <ac:graphicFrameMk id="5" creationId="{D20B36EA-A7FC-DE1C-B24A-EF2BF6BE694C}"/>
          </ac:graphicFrameMkLst>
        </pc:graphicFrameChg>
        <pc:picChg chg="del">
          <ac:chgData name="Chamaria, Shridhar" userId="8333b265-e735-45f8-a921-ce459cc3483a" providerId="ADAL" clId="{00A677B5-9C4F-42CA-8585-CDD7D0F65D83}" dt="2025-05-29T11:17:37.073" v="0" actId="478"/>
          <ac:picMkLst>
            <pc:docMk/>
            <pc:sldMk cId="3147993296" sldId="326"/>
            <ac:picMk id="6" creationId="{980B812D-9F52-4FF3-9730-D388769EB081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5B498E-4C83-4DC3-9A00-7FC74F9F5D6C}" type="datetimeFigureOut">
              <a:rPr lang="en-US" smtClean="0"/>
              <a:t>6/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BA6E28-55C1-42B2-A996-3EFCBA07F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6902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A2EC08-AF2C-44E8-80A1-5FE7B6614C9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80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F31C1-656A-45DB-AFD1-32DE2031D84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0427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BA6E28-55C1-42B2-A996-3EFCBA07FE7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183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145870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5618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7712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5721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3.xml"/><Relationship Id="rId5" Type="http://schemas.openxmlformats.org/officeDocument/2006/relationships/theme" Target="../theme/theme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igital 1_Sample Output_Market ...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igital 1_Sample Output_Market ...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2926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208">
          <p15:clr>
            <a:srgbClr val="CCCCCC"/>
          </p15:clr>
        </p15:guide>
        <p15:guide id="9" pos="7472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oleObject" Target="../embeddings/oleObject4.bin"/><Relationship Id="rId18" Type="http://schemas.openxmlformats.org/officeDocument/2006/relationships/image" Target="../media/image8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7.emf"/><Relationship Id="rId2" Type="http://schemas.openxmlformats.org/officeDocument/2006/relationships/tags" Target="../tags/tag7.xml"/><Relationship Id="rId16" Type="http://schemas.openxmlformats.org/officeDocument/2006/relationships/image" Target="../media/image6.emf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0.xml"/><Relationship Id="rId15" Type="http://schemas.openxmlformats.org/officeDocument/2006/relationships/image" Target="../media/image5.emf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9.emf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1.emf"/><Relationship Id="rId5" Type="http://schemas.openxmlformats.org/officeDocument/2006/relationships/tags" Target="../tags/tag20.xml"/><Relationship Id="rId10" Type="http://schemas.openxmlformats.org/officeDocument/2006/relationships/oleObject" Target="../embeddings/oleObject5.bin"/><Relationship Id="rId4" Type="http://schemas.openxmlformats.org/officeDocument/2006/relationships/tags" Target="../tags/tag19.xml"/><Relationship Id="rId9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8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10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6.bin"/><Relationship Id="rId4" Type="http://schemas.openxmlformats.org/officeDocument/2006/relationships/tags" Target="../tags/tag26.xml"/><Relationship Id="rId9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0B36EA-A7FC-DE1C-B24A-EF2BF6BE69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5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0B36EA-A7FC-DE1C-B24A-EF2BF6BE69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btfpColumnIndicatorGroup2">
            <a:extLst>
              <a:ext uri="{FF2B5EF4-FFF2-40B4-BE49-F238E27FC236}">
                <a16:creationId xmlns:a16="http://schemas.microsoft.com/office/drawing/2014/main" id="{6737429C-6A80-42DD-A9C5-605DAAC7BBC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907226">
              <a:extLst>
                <a:ext uri="{FF2B5EF4-FFF2-40B4-BE49-F238E27FC236}">
                  <a16:creationId xmlns:a16="http://schemas.microsoft.com/office/drawing/2014/main" id="{86365CDB-AF92-4FB0-AC20-2E7EC5D4445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btfpColumnGapBlocker625519">
              <a:extLst>
                <a:ext uri="{FF2B5EF4-FFF2-40B4-BE49-F238E27FC236}">
                  <a16:creationId xmlns:a16="http://schemas.microsoft.com/office/drawing/2014/main" id="{64B596F3-43E7-4357-9232-FD3A9F2D37E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" name="btfpColumnIndicator628445">
              <a:extLst>
                <a:ext uri="{FF2B5EF4-FFF2-40B4-BE49-F238E27FC236}">
                  <a16:creationId xmlns:a16="http://schemas.microsoft.com/office/drawing/2014/main" id="{58292CE5-FBBF-46E7-99AC-169E87D22A7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165372">
              <a:extLst>
                <a:ext uri="{FF2B5EF4-FFF2-40B4-BE49-F238E27FC236}">
                  <a16:creationId xmlns:a16="http://schemas.microsoft.com/office/drawing/2014/main" id="{EFBE867E-DA49-4571-9FC7-9D81D316390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btfpColumnIndicatorGroup1">
            <a:extLst>
              <a:ext uri="{FF2B5EF4-FFF2-40B4-BE49-F238E27FC236}">
                <a16:creationId xmlns:a16="http://schemas.microsoft.com/office/drawing/2014/main" id="{8708164D-489D-4299-BEF3-C0994B2DBBE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413041">
              <a:extLst>
                <a:ext uri="{FF2B5EF4-FFF2-40B4-BE49-F238E27FC236}">
                  <a16:creationId xmlns:a16="http://schemas.microsoft.com/office/drawing/2014/main" id="{D9F784DE-D744-43D5-A6ED-8B32EA346E7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btfpColumnGapBlocker360682">
              <a:extLst>
                <a:ext uri="{FF2B5EF4-FFF2-40B4-BE49-F238E27FC236}">
                  <a16:creationId xmlns:a16="http://schemas.microsoft.com/office/drawing/2014/main" id="{570CD6EE-EDD2-41A9-BBF8-DD90FC18BB0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3" name="btfpColumnIndicator540776">
              <a:extLst>
                <a:ext uri="{FF2B5EF4-FFF2-40B4-BE49-F238E27FC236}">
                  <a16:creationId xmlns:a16="http://schemas.microsoft.com/office/drawing/2014/main" id="{DCF19698-6A1A-45BC-A6FD-2AD7454E1F6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577492">
              <a:extLst>
                <a:ext uri="{FF2B5EF4-FFF2-40B4-BE49-F238E27FC236}">
                  <a16:creationId xmlns:a16="http://schemas.microsoft.com/office/drawing/2014/main" id="{7FC36FA1-2E48-44D0-AD32-CD95CBB2D02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FBD7D053-33B8-42F5-A1D9-DB27B4FBC2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Digital Deck 1 – Marketing Spend</a:t>
            </a:r>
          </a:p>
        </p:txBody>
      </p:sp>
      <p:sp>
        <p:nvSpPr>
          <p:cNvPr id="18" name="AutoShape 16">
            <a:extLst>
              <a:ext uri="{FF2B5EF4-FFF2-40B4-BE49-F238E27FC236}">
                <a16:creationId xmlns:a16="http://schemas.microsoft.com/office/drawing/2014/main" id="{3FCACF1B-91E4-431B-A1A2-99BC5D3DA9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7993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6FC0EEC8-E9F4-B698-8C6D-EFE8477B60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2083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06" imgH="608" progId="TCLayout.ActiveDocument.1">
                  <p:embed/>
                </p:oleObj>
              </mc:Choice>
              <mc:Fallback>
                <p:oleObj name="think-cell Slide" r:id="rId13" imgW="606" imgH="608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C0EEC8-E9F4-B698-8C6D-EFE8477B6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tfpMGChart15043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vYNndUMnZlHhQlbK8FkNAfeWF5CLIuYNRTKXj0+frBxiLGdphrnK1NzWo3CCaZMhko1ZIH6F32ZZCa4T9IhvK1FzD+JHLMD7uGsalWR5ljjpTxdi+QCRF8iqAhAjqH9CUA7NWCzetsyoLOj+nPfOD/SuLdo3jhV9/j/agWJiO/xkjPnyYfNcJCSHEtINS4mknh53/yEDVHGnXYYRijzvj/gx40AURNVzCxoVICuIP3tA5xX32DA8XDZb92gzBIRkWcDL9+mKHj30KxphREpEI6e14w/FQoCZGCSUihDHaGc4+3mVYJ1BoVFLu988Ru8lJFXcfLzY197FXs8ZxNTtApYRCNR2YGXv0BC43vHpFjVHy06LOmrTg2n3+zurjuehAD59xsVCACPoSwtIdtbLkwtDCjnqg0n5b1CdKducOIrzKPhQ9hnYyQxZZpg4JxbfuRIXUKStdbMJ2nObID9xgh5WGQ3Kz5ar+NNsItHdRnRZHwRw/GQFYG5SEvto56K5DrH1tF8pzCRApwdL5AEnFeJ9C6R9nwoPVCkMNC8VjPFZNES1HEnddnjCzIxcL/A9xiheHUnYko5NfmBPRbHa1Pz73ZuL4EDkitI+yWK/v9OMsDrsYKMVf/2h5FpSvRwRmn69Gf0Oc339VJCwKigQe90EROSCYhEGqpOFFLr6lMJovevt+P/381PW0KgJB8HZmiE0VowJYRlfqMn9ZU7H6RUiyiexUwmKpjUAZEqHLQWOGTnceH7XicCEUYE71xVc0J32wN1kjC5WzxbVoFq/rDC/BB5Pe+QE09pJaA716eO5KpgIMAOTj9Rbg/ezb1bE6u+CnLg+S8qIkd9ScGWFsE71Lat8IdjeruHa9SHB4ext3IVv/hLoGeKYcrhvbG28g2AXmsLkvaXj4wEZrdA6NwebYtmLPd8SNUNBCmkSjSGACQIMM7svHyWN0Q26Qiojfs3LEVW+5HOOcNGXzWyFiCgV0D+i+f+k5s8q8f6oAR+YAntpVUb/sIDGs6sSLVSnjSAn7vunyaur7nL4DS0QwrIuCYYMQeH9qi7YynlemUF1ndMbXZoNnNMuTz19INOgu8waLkTTrwhBd6Rx2Y1WRNdB7EMstr+pGtvlEfH9V2Ry4NmxJXUgrosF5gPu0AC1G2knnbKPbkVo5FXg6XA9M2AXLkHSn+pp2l/AISFdwuFoQGXkFD5KWZVA3STtUlRqN43OUFgKgvz+bws0IFB62l5QrcV1MjXELMmRqWZ8hB1qALqJzKKw/nrvo5fJcD5dBbydDlok/pQNvQcUM6A7t6zarYQfKLlbcWfQSvMtKlWdWODR/gi3eLVb5E1yT65agKJs6rXQDE7gm5/wLFL5wmZyYIATELKDg4WYnIOHLZpUdoEDF8shMHNMFOXQ+XfEky2SHNN4cUH3MrKB6T+cLWOwvoorMMx7sTBV7xScP4HsFitUmvv22f6+I6+WX8YCVMRWC6TVChb8tSI3zwTH65iQFCEGf7fp57CBC19kiL56lBbNNDX9zNwsOVvO5r9c8Xcq6zyTosP5einpIejuSycXESRl1y8iMoMuRc25LD6faabSsNDZQfhnZxFdxtLeyrUGx8q8k/okcUSdeIr7kSozhTq9x0qN1MICcgWpLnHPxEW9Euo4WFzlA4kexsvotHgofpWSp3dYCDpNIob0/TQn1pPGm2382cOCJmUUVua+T9ZjU5hfRfbqtt2HnH+y6jX8USeVtWrUbZ4XapOKeQMal+ZngDKbJAURODNxbmWF/FF6AT3a8O3CF6ZWSdF39BKQ0qTC+lB1jWeYvdDanjNBU8dCdqGwzre2Qhtctt8lvyP7i6/EMUwjfIqq1cHbNfQPotg5tHYs/MYnCIfU4wd1Hie3RBWe0khrqsdFNO0KzVo/tuuTSq5e/fo9NjkDiajCIpKNtfAmFS0i9XFawIPnKmp8KPJq4G1NcO5lFvwI9n2Xtn6arb3NkZ6hANagqoRni3kWp2xGNxybtxkn5qPO2kcMXbRLFLO6rXtaaIb5UkBnKlwRtETiLxPO27I0yXoFkE3vmL+KxsVm2g79WcnMvQmKNbrV8Ot/JGoJ5j0HLa3DULFYVWTzIZv9UlNaE6/5/vJAjvxvyHgZv8hViSc1p8ggUwJypX9avg/cTtNoCzrND3+RsRs5q2jfE775o1x5mgfKD8o2HWOBrufS3R1F/KusWN3uoboo6/M5DAPPZSlT26gCUpGyJ+9EHfIcnrwMPtXZ+Jn+QE3TJM7Aiwni7Cpq1sIkxJlVX7AEGVdsCe9S08nRy1KVJXWQT1M030YZCJjPiL5M4zB+/UYxBvUbRVzWgJY4m4jTWGjk1o2yOp81/utee/CbZQsKhwmVn/6yahHAJ39KAzlxU9xuYX+Rg17FI7VSup5R9PycoY/BpD1ayHpAq8SGlmax1ux72VFeZs72LvExdXjGtlbOPMAF/jLVuFXtvPVL7fcITG9KoibQ/bPIHoFGoNBSSRjE4slT62ZyJPPgPMU4Rb7gSjK8plxbvWNkXH8Iwb3vQwv59od4fBxNOiI4PT5ABsEGuaAel59ukEO+tW1h5i1uRgxIiT2RZD4n0inUZxOfzQ22bfGMBjZtpt7QgrehC8Vx47UaU101B9qP+LhTJSCr+DT482OFpklyk0o9F0DSv8MFn4qf/YarKh1lSyIjsdRJliZBYN6w270R5DGn2TyQJB+ISZGhkpBHHATtMoXxS19KM1CzsEVEc7N2NgmKh6xQ/qhuVD5uwoEVgmRAqURPwcUBbOV68XAqBqo/4i1qBLo5N6+hwZzXq67hP3lnt38qovgMz+0KmSCh92mwBa+6Ub3+DU35Ogp8u5WydYZjVT+cHOz/VNm4FsbxKtCOpgG08zHZS23Kw/TD5lyTAGx8iqIdwjjyZlYTwINoxV2dFFfFe10WUYdWwEsMFqxxzyxUh5+FqrJ86vDTLSr7EBV3s9Hfc+FeYbJz9JXd26V766eP2CrAI58MWsjosos+VXkCRuV4ijBLPsG9JoVksvREUISeJTKQ5ulcMZUcFAPS88hroOqcIYlMkujJMez24A6uDG/BvAbnixl8cfxkMGQgZKMpT1DfVGPZL8GGWWBv2h1hh7/U7LVHMqBk/8R5MRrp3PKOQz0RnPdPfZqf6ElLkzMIG4e43Kljd6PnpZOyBkK+8J5btd2/khRWVNKIk7PjjB9puWw+nq3CHfr4wHnvqXTEt+M+lCU2oYwWrfW1tXw9xqIoduHBMDyLat084NEAYDgoCiGRdkqY/wJpNKNp/i714nssIOCcSw1gnCWXodJ66/ZUqtgOmnbDhvZluv3UOjJzqHumPCt/Q8Fxj+bYk7qZ2iMOE1UWC2IZ5eBNtJbp+m9hrsc5EgKYSRxciGFxrK4HCGCwM5p8GSMaiYXs1WXl/4UiDcM5k6yc/8lfzbWvFVqZWkzxmrGmBkRFSzV55fBvH0obr8ClW98i83AQxQLWwJK/b2ISWnlbiZvq2zRwBfCnQXeMaCLC6k49repSWET8BsouMjFGfRzAYMFfWEBmD3gMCm1/5TDxZqE5A9nOgxHTkUvMbpdWpGyfd2UoL2s3lO7p+wbpg5x5g1a7FiEdb/SwcFrZvzdO6TDf1+HpXXbg9BdQk5VI8UHdumZJXzGQT/79oo/7L/iAJhg+3JpnxlayXbMQR5mO6KqQNLd6Q2F86q+rINRetRp3LBhGHfTxcdU1QSYt7jd4Q4Kf2qTP/rceySaX/gHJwdutzDF+ITyXNwot/nvUJoFBQZsWokjw42NWikUspInUo4Dr2P9CmxvnwGZiYGWzRgPgEncI/MtAZhQ4/XFmT3dmDwJfKM8iIiAqF6h/pB3r3zSPOzQMKrRJTgdalNxo3zG4wrjWIj9NvOrfQ2OWITCnq+qwNkGa8BeT9JccGTEtJMMXJ9amE2+jeaSW9t+E8+cvC2rtgBTB/I5zFnT9IzI6EHr5C6yi64o4AIHnLxjfREAozCE3c7k+SjthW4K1RO1kNJD8At4CFnNSytCQ1VEb6SRFMdpEDzNC40zBkwEM3gHwIJr7ZzV2SrmfTg0OregoYlZzxfxtHCAOiPoLpsTz9h0uFxJy7JopSfmBUMyEAMn5WVh5JvW0oHKdwx76aZdVqrZnZ11Xr5WGiiYV/9FVITcMW6jImapWiU2SwLWkosQmGiPJFXoaGbzblMbwBCiRTwSfD/pkzuclDcknGUTtV/jaweN1RwaYtMRqYFvY6WOaMBge2BNYab5nn2cSvIPl6wMSF7D4njjGDk7SAnJbZYjVURy1wd6xrjEyW0vHpGuom2nemNbnCiTsU33E+VwpwvK95dSyWuVZtZuvMpqMWKGE2ZnVDItzOeJU1L5nuwXdnz3AebyX/cX24Xj1/P2QQ9TwWGFsAkqNwM3Yj7Dk75PwTxIdSnLKGdBqr4esSYhyZ4FBaO1ZCu9Flw0puIq1z7phOREg5Iy4+gnCksKhlZwgxXwyiivIuA93OXQVdtbY9p3HnuhcG66xAMMq8DcHCzz17pnsFzdQ6t3+tZ9OSakkHbf6R9u76atzYzhS+9BpskQ+EqV2i4MlRFiU3scHONrA0NyuJ7vsqH7SNXL5fBgmoFOb23QLqJGJkGOeoePDMdSDiWeOEgHy8rNapLlHGAgM55wcQQf1cEdp0mawlaufxxNbOrEhB3bD907KC8qwVjcOp4xEZWoG/qegRgjrMur6YlwVXf7tWPWMkY1e/csng4NLT64fDLQIeosCJoYq3IWbAmApll7N6qjcVu/jaUnY0bL2nZuNur6MHaVfjobgSaga9bdXExkx8vHzWl0i2DL9GFPqC8tud8Nyt+K2ePPGIPtjdYcEZBx2C/EdDt59Pa7/7uTNUrWM9/zyrztGeD9gMHACZr2xJ3UP6DOvWjB8UU3L5p4mAa74Pvsf7QhfXeuHZelCVQqVF7kNcIOlSJIAJUDmAdZ/xZw4O8+B6FUwKwd+1xd1BZ8r8fd9lv1epqHKgrTjgJcabBT8R4vSpLgjWCR5qI9CK5MtiOy6eN8Sm4LZYlmsHkXsm9uK29CKrBZ/hbVSnB5rujzNCrJa+z1Z3WOVPu51yGuhjQAMMnPsl2fbUb7k6tpikXVQRz9WJvBCPWdYAYlgSdPTE1Cc6b5AuGf69uivtFkQykNmqb05ZHUTMmX5Yn43F01WBBjNxR1/Rwm+IwyfZeVvfwO+6ruuMm8zOMce8TidLCrTk/ef0LbztWNTp66VmrkwUgMRNhv4RmqTG7yJn6/xVajt/Vek30qP/5qp773i5/OUOlbBpbrTURdKInup0ST18cOSn5UVSeT3TtUZG70ZElH+qmX1Vu+2gDQYTJbYZDLa7Wj3NAkOlvkpL+IYe7/lm9YkRaU+jaTcNEdl/ZXsnKA5KtUbFZr+Zyqj3I3N8k6fXR8vloomfFhWRlAcfh1sBeo9LE7HdAqqhD319x4EirP7cuN2mXit+F5Z45oXnOqRdx7/2fA+Y0bKli71JZdGWGvjDrYPqTyRE8BL+8tdek4nSPO1zcqAmX0aHuitJqLjXJHDIqbxryf8Uahip76muVVJIixP39OFuHpmvCyC48w37jq5mMCECjs8VxLnbRF68TVWthAiInMg0BaHcHsRkQGfcz/Rmg41fgqOtGpoAL5z490ci1oINhj0dILTTZQWsMz2C+QfNuW4hL14KkDXndo2CYQB9Wwd0UAfwEkrDCvKSEIpKWij7XZG1R8+4i/z4em2ipIvl/70fOZu5Dt4hJRCHeK8cvgWkHBemEdIDJ3jZk3feTQbYFalebPQsFhcw9Mmt0O09dDdmmgYmj4zptOf0buBI30Vm2NbffL9EuCI8DBVE04NX9LmYS88nHPIzUKvUX0y+hBsQcv2Ef5/kQzFNlOGv0ORSuCcIfTg8L/hR84WVfMZgfo0MXwNDrHSAuMQWgYXRcw4ynKOFrItrsULB286CFTQjJVO4KgUZ6HDwcJ7Shw8KWoU8zNuLakkGz78sau8GLYwW3yOlQydNmiJSTopgWF3znVuJSgMU6UrKwTnRuoHnTGqCyJSV0ZbYVdzla83E5WIgeTTqZqeNB3NVqD+UgvmyzNMt1x8JSfVW1EnJy+2kAj3BIjcwsIrkLKZHpFtz8a+72xwSKCnn5rShclmvZSI3RcDTm0fYQvGvcoGWE4LFsPRk58Aqm0vDrcG5Gxvov0N+NWKpdsRAPJsjcj6DqPH6n6VstUthI+HfaqAdMii/4nct8iPddpIfZYD3bLpDqeHVOBQVbRliaW6Aewu1iVYhX9TnE/ZjCRZwd3Ak14Vrbod+xfQJCRnB04aeAXz6nlYHCo1vakigMb/A3+KNeNwxgVjw7PpUWvIaUAyvfYAlxeico8YulItenx0seRJ7HfLJgTaRiObpgQhaOag8eTCuimsFvUsWsYNzqkObldAM7OwKMC9B0/Xh11ktmeBsckp9mmeD4YlGoVGyKi8k21NAnnwfJa1ECPbxQsDtg17RbB7EkXMAkG6pc4GsEVg7EuzhSj0uFm7eRHOqV7zsyo+5amZ9XfxGx8PPfnNv0STm4zGvi9Y8qqC7jApUq7hrC6MyDF8/4yNBGhmqnudAguuqj6jeOW8uZhyyV7xTNyzEvJA5/jXpDVlHJdSM4Q7YQc76JMftj8dmjpUejl6czMamwA3OaNSfBrbpk2YAmdqhllsPicbJHQkYHnLwC90mSV22ocbcIsrD/6fbJrHeLQWOaQSBmS0DXOzdaJn7GN1o9fa/J69xmhu3EmB/DFmFoSoDbwPYAmz/3/pETIF3i765YR5kFDiQTfuMU4qNhAZgTbT6URkmBeZyQNR/3kdX3MremmgMT+Nm5yXUcB/PzV0Kq6UNQ07aLtdoXo/hsdW8LC56papktWkyJEpwMV9wfhPCEEGcjyGQE1552o8+z8FB1qJL15PEgNIlr0KlzILrnn/Hoi9BjLyAeVh6iAQxy1Mmpiy2bwF6wa55Dvanj8fBPJN0DMQ83IXHH0Vcvo8ipFJSuFlDGNOEWjS3OxUIn4ekA/VlL0FXdhEdTAiQgsQIUsjlypik/LLFc9zrIYofpU/HMeX57nEH5dgTBDC2LMUqw7GhYFbdTAl2G4ki+ukw8gGCPDiFjpPzlqtInuwdv6ZEb/zndhhEnK/oeHP0DJBExAMii7zuMz3oC/iVQCzS9EP3IFjryrb2doBzt1hVye6VnIFjnqjgnqkP+BjmEzC+B5BKHcz3rDOZEdBXFFSug1LXVBgkvhWoYaBSIQfh5nk1V8lzFIe4STtBtjROjFISSY2oWXjwRGf51r/muegUzfUoUwdb6gRUhqve3KmLbNMuG8MkPrXytfCVsOkIpCKKWMha1ZL3TtqtJbTG9NUsI4iHaOQ1/awcM5/xp6TjV54vBSwnTJ6lMFFRK+65OeXskvNzzUpMGA4I5e9RpdaFyFZ5BhgGTcNslcSDaookphHE/hpgLdacyClJY3vLAOIovL38f7qZBxmo4M6XJpt9nrgKjbFgo4V9tFb2bmfPCAyef22UK7IpW+rPMpiyMZUIDA37a3gwN1QULbGdASrWiHAdVob1dBTuhhFP8am12ZfOzgMOWzfUqHlcG1TnH+oursO7e24BfoWoDNrIb023EEZ4/2USgQAkK0VAMV4XxNQrHmeXliCL2YYIzOAQ9c3YwuUWvfGBbNOEZCEVncXwvf/Su1v6r3Xpnltpg5Pzxd1OwYtzf68g5fBpoLlOREYuvnAMFByl724SQdZOAvRSFzrEPlxDYODR2Qph7DBUUVtN0XIMGxjYFNtUCb6toSJlUmOLjRl/BnfFHwQYvRKeqVr4Q3eUk4fvcunzV1yLWta3GZ1hSVRat3VMqjZUQTFs2dVMeTSDkDdgXWsZ3P6a1F4QAkQg7Ms0z/ffOfEvG8kQSxKOmR7reKPc0jyr2iREB10Ns4j8bGSUxriDPTx+euG21227AHZ9+k9M3hTV17FJFOKQQf16RuqQLxachNawL7dSlOtic6rYCqkV8yvMjWXl2G/mgykrNaP6x7ALD5ZGKptWvVWM20hao4+mwLsCd73dE61PNgmzcsasgW07BzHcE8mCZM/2OvxTCvEP9NLpe3SMRgUgjRmNuGe13UtVmkRBqtpmL7U0bpDnK+rZUo5KBnJb+lMcipe22A9rpOILRc8Qnl7MCSSyouivk8gQjYzJfjx9msNGtrpAcHq/FRR2FWN6B3Hg8qSbcm5QFK46HnJ0r/huD6mEa7Xq25CuW9EDnpSuZGy5ONco2MS+88m2xg98H+cMP00s+AUO7yLz+UpcIVX4iwhDqiDOsOYEggTP8tP/dG8SefpFzTtXFjTynjuUthXnbNSEOiQR4T+bFaSclGNKv/+qCto3qvaZdr7m2LSaqraUeW3hMtmuUxeygy+Ni0dJyCcEAJmdJx3AxVQUNXFLZLrR8XAqy8N95va4gQMOTAMgtJUb1WMOpEfsRKE0z8uhdla4Q/B2NHRLHwQPVhhyqo28oE//lZALTLdb009A+P8+wVzP4VVYsGtFOAK+C5kdztlEJEV5FJ91oy51NZagNKYhYZ7U+l2v381Id+C/JX64oUiUntsF/0a547lXXbFz+GLXhV2kPJYDZaICE1pTOqcku24LXP5EVLcTSZBVRaCMIPH4AD9mtxG3HBBc4pvggnYbcajouOu+/93dd4WrxT6TW5L9SOlK3W5ZuRD14AXGh8GRMDLgWKkjklY96vf9bKVDeq4XWi7JtBX07w+L7qBnhMhQVGLhrUUuuBnhIgdfP5KwEH1MaB9fvfEor2NEfZyZxr3CEl5+zHZiJkgFb/18dIsEflctg9qDoVH43ZN9RsvEgVBFFMu7M+xD1R24B5JQrZVSlr444iEMjZJ+b11K5GKuMAgXb583jMI1ZC16M0XFIQyyrHJq907/HlM1sTsCk3O4KP2No0aqMAVA7x2p6A3iY02SnaX4YLyWiuAu0zF/xptbULRr4qbppcGmWlAqeC6WMjV73MRI9OiXz1fFuIkFODZG9FAzpruSoiLPdNIUFQKBGJCMYwRTLCej4TKHHYxuKQ9syks+ZWWBQYGK593Ln0sKAxlaZojydehiMNIZ87XQP/4PuyE4YQOiZdwya6GvzpttgZxV0jJt8DkYOslN9K7Z3XqruIugtkSl7CueRrDMrKbT43IBcuXG9eSIYZOgwEFtM60TTopk2bhgFnsB1NU1ZyYdl4JSMwWN/XLyuXprHHsPbo+0UV3UBQJImPGZaf//YL+DycvU8lEH8FwbHrAlGCNCl9rIebaV4I2OF6JBXT2mjbsNS+y1C4GYTCMWl83lxhFsQzbYvBBIOPWRqA/8iU1ugLFA39I7SkfTCl82FdQyfBY30se8EEXt38wM0bAwngD7zEplA4FADz0CMurMWPsIrfCWt1qulf2lcRqHIF236AryBgnwh4rgrjxhKYE3R1VduSZj6BviPUhBkn0nTH59ZNF+GwxKJ+08k7NaT1v5P+CYcX4DSGgJuv3R1Dm+kTbtlZei1vju+4WrqSZi6auEnMd62S1ipxskqiznJwCAQmehqsy6dywA/2fenQcptnWwqIsUbAzA4TtnEmzv4UIOEgzLAM+FEjT0DHJtI3eZqFz0tMDaD3DmySURXppUCZ7e1WCgDFyGSM2zDJ3SYdBVjDD+e6b8FzvIbJVtAbHkji0k363qgwsP2l4MMaVDJY7DWVkTXbB/s6WprtvjPuDJLDtZYJK293SWetp8iHTcZCJMCuURsO9JKv98aRBKSNclf73iLB5LE/xuyfc5tV2haL3C/A4oKpXQxoKo1+be9PJdffV7imWMRHnacxqikWrYf8oC/8t9MBUyJiiHShI2TCw5ApIB2wU8j3oGNT3qUVBMxbg4oji+ixFIArC7QWEE4+qRKwNdXmry+zpVk8E3dMdGVqPmMN0VFI9jqu+RlSKMQNKAaj9zOt6LRXDdl04oBC+GRVrjr/WKgn/0dHcVq/3tp3GHHZwI1kJvBExXCKHJHRyrAvJCVSMB8uwbFdD01R07ulRCx596SR1uHZoM7Ex5rKPVPP6zq5ufzJb73L55dIlnuGv0watEbADIk3xPcVa8lIpATRF8pDpACvELVI9Z1yFpS+GcljWcSKDzPBh1K1biYTsmfbLIfZUGZQ6IPeb6ziSgNvi5QF/pmHxGraSBNXiXnwlAKbe8dzwfggYYhKqJ6j0XwtB+V/5lsqAGuFsRTrqB0nb8xyTRRqIILURfObs08lgiUobMFLA/TXyb0qeZVpmnU//Gqp7mp4Kosb5U3McVglxrji/otnFC03xbxCWz/0o6y6USGukLckPmxkZC4U/kBMfuupeRQ2x/kv/jGE+Nhij1YBe7rx2wMyapTQm6pTlKTPZnr09vo5xKXSzxiAeHCfCQS4cyPWqUPrHjM2F5AmrCF/SMewxgRVJ97YqMXVwpkBOS79dPyMUJmSpvN3Ee8XugeLidi9tes7HBU9aFm3qpISET0wc/LqTp9iNvKAErod4OwvC8t6wo8XSf8ouMxnPW5hmDmGQMiUIKqbsQjoJw0Z0exGZxGG18v6wGqSEX+Hc3Pd/Ybq7uCE/7ciK4Ob7H7loHref9qKTFpintSdd1Aewzy6w4u+86iU04+w4GJyfIOJ07Hm76Jj7nV7TZr0775DAbkKn7lxOMBpHRATDlELaEbLqWwnTnDZOTouuVerYW2O3go98mDnh7Zc123/sWSNROlAovqWiEpur6IbZ7zHgpMsbEYhq5duvmbz1U9j2qKD1BolhB/XRlkJ+BjKIHeSyGu+vNOwSfW2+8+txzsI5yGW8iBfaN324cxAlOZW7TuU9AxHgwVsmnNlKVxoDCL32SsghNH6izGsMSxHvJMr88sS0bst/oO1dTCOceQcncevkXqLQLJIO+0RuBjfnl6bHddXRRwzmG+4c2fig1cKfTs6K5xPHke9s4h3DTywkSqAYA1++lXgXvwqsBwIuInGtbm1qk9gzZUgxFgHYQFJI18CDeblnUAO9gm4uGren8ph7SLbwIOasen4tEJIDhrvw0MtixcYVl7+tFH3NXdwopzK0l3Q6o0zfRdkCe1sB3QIhdzH5iQGrdQXcRU/jVVJ2FIBIM/Zn26TC53RhfPjWjpbeH+jFK3ir4nzAe1bFUn/ck415IP2ONsl9Tg2h5f8gMs4rgoEG8vJ8FMdwaqxofM03mwvCpdGMWsEufJ3IwrcYoNhxBAxxQkk6PtoSsiov6cu2/P69PWmAZCeDWB0O1LEOSypF+O5IwjZFL824zWBdPfz439XkTvmzqvMFjMtY04gdcw2T4wywOe87c6L75a7NqnqP4heOkWpf4DCuZkttRpYILRzlPpJ8u/wIBNoocE1ql1EishAjrobxqj203tiIf3PPLRBxOoxMDCdsRtLO5mu9hITH2NLUUPNfDZAWB0WYRGy7HbKqqoVYWWpgLCWtR/ii//opCp1CZJGd/kJOVAhyt+ghuGAd1kiZBt81g4q/6IpWVNYCB2aXKdvKhQ9c2gSUdvMCSLl5xITvqqZcWjqIwqhz8CywMKdAbCNqVSvKsUMzPSlFZ0yGpbAZUrZ4lWVgJwT9TjsGH+wnFt3XLihzV2SDYLx78MEUFhXY/zGaxMFxkE24A+ceS02Xb36cWQUohqLga8DSKl6nw0GG5jaKElWQLKgH/9iU9ghinS/1pC/AUTiilAMWLfsDgMmz26OrCogwix8v6DyN1hZbyIuRcYtXFKe7kBmK2A5SKVprFUyBLvJkAfL71xJEIRp5N77QotVty+/WgnDEKMOZNfnDOv9YaUJLVDO2bnivCphc8qmuAQ1IYt3V7CswudNIdht5qpZ578yFgj6a5K/4mwsk1QeM0EA2CmLlHSvfSxEllIDYnDOGyIp4mncnF+kGiD6j2nGrvjlV+H4Y+mNspbew795QBo8e1mwzVgnmzsOqamDK84Q3QgqY/+cyrKlqutP/iYQL5p50q2iDLJAQcwtCHqy5P1MTzt8ynhS/ZVW2dSslqZn6Tbzoie2vZPQJKCgLVDHDbBzNudxge3rsMVghKYYjGwt3K2n5Xue/LuCyx0fTOqUzPZGAWeOIBgvWYvWIN4JiO5Rt+VVZLWRf4PlARlBsHGUJsFtY/cSnVynheT/WWyqMs2FsWC9c5Ck4YbW/bryw4NkeXvbV/mrPf9CVmNGLKpwgrRXI+deTTRGUWBLmYoTqYeuCQVtRtp9mgfcbJOotcC3Xu4U6yCh5jhuhlbVYDLMu+q50VJH5AlurYY9HslrJBAFx45pYMeIzyM51qFWqEQ5Snfuv7xYKOaEWum/A2dfzpvetUp80zbjhKOpC1JqwvpXplr1xNya/nYGCIqOchIHZwLEPgT+y8wh4KVpYi7mRMrHWh1Uf82xgMHIxkKdx6XqvSyZbGoHi7gNcBqvx6qXD0QQi0FNMZyUVGwCnpDXG94sTy796+MuFgiig7CehY8cCx1Ad+7dKYTQizYj3eazXjHDh+XuD87x6fSK0ZLJKlMscpAnKfp+H5lerzGjBGmteF1Rdm5mTKNIfsIbbGQXmmULspoq0Xrg8OiBpHQR7PYpEEXhmZ7ZrOgD+DQs9Y8EFEkBSeJOB6tsiMwi8T+snaZtKgn7fKf31btuE2Oe83ZnGzP1b1zwOCYC3OBaXTM0Z0PhPsb330FgEjkL2jtzbK0HMvFC6LjLJVZSEXziY2mQ3+8J2/FASfM1wDEoZcvsQy9f1Ex3q2fDEteP6FUFe2RSPHw85/uRGaOsbfQKcSa7FlGzAD7UDPw7zdwLixJLeBZwGtaosC8fyXZlG1te00smcP/QbXfKJ50js/WOCUZLDpu3WVXRgfHKvg/DPr3gW+8aB7Pt8hmf59hk1yDDf8vrD+684Y9L+mJm8Ncgn462G3xDzSZjjxe+fkzqfOeicgZ+QyFas9C5DtFQrMTRFabKlSXVsdSqr+/t0+f6iiURbtpknE/iSAc6e7pxhTbSHB+zyUzDFdmtm9x/uTzquNAKEicq1g2pxsD15pZ9hn9fpeI5IHf4vT55+NN8ZrLii2jeCrbvMzn0ZkF7DB+AKyX0v7nnAH66tRdXRk8zE/iJHntdXizyCtvK9XptIRqHTGdnmV40fgLhZc5e3qpj8N3MEE1N5tV/geTHpxwFx13jbrKjZB8Sq5UKRYgG20Pepk0xDHcarFkcbPQ2yiAKF5d9K6pMmSshHCJW6hd14GeJs2eDtbcLqqGeJ7RPsj9YPPxq0DVs3327TGPxDpXSDbJ5e5FzVzAvhXy9tOYFy69MkEJw4Gtptv6UrSDd8CYcJL+zOCQ4Kf6CZM9JOuMtddFVWkmap8PjGdVZiE+WSlVBqmePYsnjb05b2b/KshXAKPeicB4TCzQWXpAFewFRnzl2hLLruLm647lgqF51E8ihqxqnsiw8MOf1r+1cZxRAN6aDBB9VGhvRxwkX+X/wEORT5MLHYvC1X6BA+VqOfGLBiOtmaBrNGD6WyWyBt/YaVQl5TmRlJt+HSTVVEie77dtbgWURMvH3MYJHFG+n11HUi6bcSHXxBMmUsfL9z3stY77xDU/ZEyrdqwktP7LqLtI5L7hQSFXMUO+ftozvVOoUATrcPTTpjdKy+afm12dxR2YA/1yoA7bq2fYy9gE7MjMeh+FTnDvkqqdTUhe5T9xGlN03FWaH0O0HRtMTNo7zZFGcZMVFpf7QCNXoz+uZ/OXcsyfgJVnXaOwbTFtHvIHv63oyEVF8KUB0dhw7o05Wb4/v9k70XjnnrfC7WRhgjb1EK5OAmxfkR4Ht61upzHMiFzH5layEfQ69wkWCVBXzJr01y+wWHd/7Ni3+OaV3znW4uXQtr9azbOrLRYBvb0TalCfP8wjVCYPnp4TKxX+7Vok7QukezalHxTNsm3U6zKYGWcvXsKHvZU9r6zt58DnnP1BEzC2giPRcKVl5Dur+b9iVtD5HEhwBRQ1ZpyUhjo2GT8rREsTP5zRBPopCVu1I/LEKrXcN4PvR5wLaj56vFo7wd8aqVJ4BDrsQ7+iszliB4siYz/BiVyE6T4ZXrab3Tm/ko/woluWJxpGbaGzGN/QfVEZHoZRylcLxYe29WNLmXUy6RhDJGkTkX7yWopnje1UOMJcUh299kOiIDasV2F8uZczK0suFJJSmu1rDACUDXCc+6b42HWmZLRruX02YViKX09S3zQ66gfeat2nLPcqX5AuemxL4W/OKsnwsG6yBA2RCCReeDDwbHo7/o1e+Fgn2QZ6+B8DVGuBydtww0PvVtXMos+48LTVK/DRdZlrpZLdeolHQPlfI6tqxljaLcOABoGvd7gzOWt2TTp+PIk7kiclapwhaxdnHAyJgBsK+TAxh3sDhN1qj1v+IjPPDRXWU2+fMq3bGBV+GyzTtWct0NrEUSL5E3bTn1ZCn+AiAGRotJBkDJHBUBoq9/A0SZGDFlaVOYHplyqzW1uwqNdcYGQYXJyK9NWjr4iddObCDkXj/GnImwn7c6Hc7vHeIh3PV4v+gzLEPdNp0uAC/4pRfngeeUfLMG2mY1IE1dMqdzPFmMW8RkHGxo05b6QqRSD+ktTZdTtlefjq0TpFwskXF7LxP+LYPr2E7D7T2ojMVoYliicwYuT+005IOg1yOzJPmB8p9fzeQNcFU61lbEe+rYcsKA6KgYhlrI9NAHx9y4BvIjEvyQUouOGEMCSjZgSwXMk1+vOAgk8uCavZBwLZbH3INypt3hOPOPg4kV+TB9Hy24vwQCh4Po5XGyJIxkEptXDKNpSFOLpXoumGPpR9pFfjhwrfjaRPIxMx0iB/HcmqTuEVK6Izdezcjeb4Uty8KPIVZLOB2PxUrKk29xbJIc7TQ8Ujsj5VH7UHoMRZXbXQlNk84kkt6jqKdxBadEgRg3iRq2Cq6aZlTZSGsmZz7FLXRnx0eGrmsHMfNRA9pra3j3Qv4PBIV0vz2oTzeuxnE49IfOy5h+MwtWrpo06YHJtdgv3slc/ENbEDqTiMGRxelZdMVhM8gMMZbwFIhtnpP3dNuNwxI5HlU7gwjbGEBN64rQx+0sIkaXjonAzzQk0JoE+4BcYBcTv2UN/FVpOz70p1akFwhzpMCkWcswuRLi4wOo56uOEu9FnZzBJGZa2GZzjAcUDEomdLrYLz+VR9Ug4ud6PdV9vw78pSZ/QSpudpfsss1ljdCMq/YKOp0YP7UxsgK/EVohnrFyBFlhRUJr3VMmq2N6vquw+InHQwIWBATDVpriIeFM4NJBnCY+p9RU7RD68ndRMSjWVHAon21+QJhEi6fWfWi2UwcmjcbXcA+VL1ijQ6e2aQob+Kpr9HxyTSAoQMH/E14ZD2K7RE4UggfrLgPGnZB31QeGasGNaYSgrOBWkyqu34B8l7r09UBRkDFahHb1goPdf/TYSZQBHUMLNYiaApBViRvDfSdblYEH5SAfXHOEyKDER72xjbRAPHDWAMNcH62mmKBxOwdbU9gwx4fQqU1L2jCypQRskGJtF0Ev8j0pQ3MmQu0A8on3MEi7LzfsveXi9y+l6yAw2EYkUGKc4PvcUltu7xaF4ib9ZXPepmOrNKXTTy7ko9yiTsvuKConq6gA/5G+gVuC7HwrA4L3IamPgORiTiBYoT/fD5if1Mw2eq2G/hFPvovgHWOb9sIXEbZ/4HRd2X6xMQPPOUSMcTRD6JAQoTtErXbthfeq9xGmoPL+uTgTsSmOiampTKHZxSS7fi2v3dJyf0JO5UPtJqcogbIWj7b6tjt6VxqnWfwD7NdAOOkJeOJIyTFwQ43pogK3nDVAtJHNsSqufNQCOE+aJrNgKU0zFJnFPQdh7MvDsrkb4PnORG5IBcm1l8405RWXU0BrEH6L2W9rCMw7Wezir5GTdLl3VStXzScA3pJWhNEtlKiYiOUp3CbBPjFEx+BCvOA+EWudEzw4G4E2DeyS8/dPBIp8lN3iY0X26UzSVerMmB7GONBPoBJFCM24PPxyaKi/YYbJxU54CkZSkcxGjzXJkR6v9mGYTDFcVY+cWg9n6FaBJlTYujxcSmmanW1oJBqbKKrPYG8Kyf9gKw7KZdJHiVjyS8K841+TEroRGeK0dG6rPtaLS0TYDDcSn5iBvpALgXhWO7Lu0lMFDw5o+bD41Y/dsSu18qlBmfBwPxQVJprpLHhVwTYBEbQPQm+K5zDQUFqPcVYZuzERTJD0DGnUTvb0lppjUBef7/DdPtSB54BNwrCxqY0Qm8HeMGfngHo7BYiOZ/Gj/RrDQzy+7N82aqWryGtXRAO2N7FrnYYtMOJMJ/eea7Rvc6DRpdx3RC7EDNjmf+0jn25LP2Cw92T4AfGhZgNw4N5edYfSDeeJaBRDgHFBObwhzWr9YIeMU7Jtq4mAZsGT3TT+KrsKWPV/S0MJcky8tkO18ssMAPA5XCP/zPu1wNMsI+s27pfwT/MUCBEYnq19yELuu8iQQZR9deSVsJQ3U56ZLtDQJf1eIG+GwlLC/sLFuHsUbHTk0jH9JvvVSY0V21iNgOcDvUCXNRnBGnIQxC6MXw0VPPz3iLUs5ZKh3YQ4XX2fNQ28FF01CEv2glvvaR59vtdyLOZDooCpWJR4mH5/f+k2i083x+sX/GAKm+FHtI/e67IzNbBG/XH0duJT0E4ZkgxMJopxiuf5aUf2AofxOtqq6mTq0biBJT5YC+3JFjIp0n0Y2jilosA/o8Pk/z+NpzyUO/t+k+PUPt4udWHyT48YKdiAujQ4K7Cdi6/QOLxBIDaTnIPjopjM5GytPMKR340EdsKUzoSrqkJgsvBpg39a+hw/ji9ivgYUc9VBaMb5oc+eSrR9VyPw9lfwgs9btrIa0K53X2n4DeQ1jYyixvo8A/n7B7zavf8/XQHlRs/EpjXcDIvKj7LnedhlLa4WYR9uBr8zI8Wa/QnnQgYCRGTBcMUdtRvJSjiFOoiBN04060VvFwgmgIqNizqbjAaAfkM/ev5P/kMWVpJzAmfv+UlmDnv6AnChcb3sSfJKYj449G0QHyT2wT/T/grqhWbyX+kWjtmSztm2e8tr0foxEo16PIfFI9b4L0yK4qLJt0vwUSku9LN2IVqB9SOPEp1zQHjoLDOarJt3LMtIli2+jj9rA4DNqp5PVQCeiF1/nzWLYx9LFjRRsw+XhSjjy15UQ8QTm25an5JFFDV3qXFugJSUJExsLkDjRkQ6sWx01cyWeHSDcrYpUtySG02Q18x3iOHEehAU2oiy5qiVNmedhRcSmhP2mv7T878xCz+2drMcoqJmCpsGnzYfzjuSXg+aeTWS1Mie6+edYJVVsFzAkjzu44pPU8tgozZbkjWrDMXkwhuIpGXbET2In0hI0y/Lfw0hooGPU2xsnyKhSaJJmgZ+1BgKm5U9P/EJVvmAc0FDXrZ8SfwCfsrsseSFqSxpXzRQCtmdnrPUU22Lr4liJsZk2yyRp+Wi9Cp6S/ZqIJ5pyMqRct0RAoRGr0pWIO5HxozdUrK8gczNfVPdl6PdxoI1doR9ArxeUnC3ar0OQwikRQowii9vl2S+p+BpQQwEhAkOQwxiHOt8r1ERPNBNdrxKXhuv+RxfrnUkqAcxHay3eCyXtJhDsSEeIhxGQO8H54G+sjuzGq83Cp2HkGWHEIrm+5QIVDyKXBw4Q6nlzkgh0xmrg33JZ6LopnaVB3J5encFOLsuYdYC+lbB9vImcrOrIhGsdhNmADNUBUri8thjRgc+u8O/AyXasuzWsome/QO0Zh6Pu5hX8+k1F7rHIoZKnoaOspgkqcMMBF6wuSt5yDXCxugBi+SauvVPRQHz0NLi4NpN42mXfZBRLZw9VW0NRfjIQ+foTOFCjhz+mIVbN1cnitSOjnXrSTRJZTayiVQHrqn7EOVCjrnktL2lNtHPPfS8XA3PLTHmgXwpxKEHO81WaEAgBGNLr6slhX4ODgYXjQGkjrUqGkZSnx/sSGV1v0DvHqPQKAsjEVXCfkgK9t9qMbUq+Vx4tePBvho5L8ormUS4e6WGFkwpcTyZCbexIXR9fy+aTJ/sZELePpq/m7qhYJYNbg5NJdZPKiTK7jM4fyBxNYNgkEBa/LruMXePoeLx7lHhcf04qALB/tusVZTVRPBu122znOengKLmv7wgjqtaFfh06PuiqFn6zsNFwEAvjvv4c1u6ukYusZpVwG/Dg6bG9Isza7ljzxEwHEx+5alK1n90cTBnBXi/UCHb/G+zP1DjGPeM/ATiCgU3Qp1eeiVqYD1EKfGVRhRUv9gdZI5+U2Bb8WoClRt0JXagSBcIBwk9T5JcJWJc/Zjrhx0rKJ57Z2h3KgxeBa1vp8DE5inw3WRFVdlHXY+rIbyNYQoJnCZX+CrsL+uSNhZ+ISRuA/yUUa8eqpkAxHD21xdGMC5SdkwmlZVv5GW/y3n1ayHwPqgJq7WPexdIqpgT7JqyYpwHbf+/pGFn7hT2h+Z7bmxNdomSP5KBtdsNukSZcLAeA7PPCc8qtVrxObxmHOEJeQrwTCzqBps3I9bsCyZtZJWtkC0PVkB6wZeHOkL7cKXh1LGxttfgUefVaouzL+2LYk43XwH8fC8joa3dE7tWwoqoL/9z/VOYJPCRtpWecWsmHjincx9TmbFVjNhfxELzk6HkF87Qohl6Pr5x3B6ib1fCl/OTtJQrx4xIbKiFFJlEiVHUgwwk+bZoN6ZagRIHRva4NR4E7ZmKd7+I2ZoeqGppA0Z18B6qgMrHk/B0Ze5McwU3h7VWhCismflXH5a0DEX44EStXMX6wDrYXD8KKHm+yK7dvwSLkAIpGA6dq310JY5/226Ji0NtEB9U77wqWrDOPILx6LX+E2oKA765ba/AMgn7JoqQNBS5Eq5BHMlxIgMO5zRNURB3SULON4WI75utpBTZTz1NEdHtxXVYBvayLxwxAFfqCJriPQovsDg9S5nVxmiXQQhjTyHJzE3nJ9yuI8wVg5bvLpGmC2ejDV77lH29J6OKPEAQHH8oGWVd1k7+p8iS+07GsLaPd8gU2xTGbIXOC5EFdxj5bHUmKVJjeD2M12xqyMIJQH4ko2U2fTJBnapbYmSr3eWNFLt8aMuO4pRV5m3K0JdE7suFWcG4e5POeTcRgyBP4Wh0TNq4rqKfDr1Ah7LoaDKLxSmg4F4QY+URtjxOKSbJQxcbFe3LHOzD6O6h7FVHcjMOI4leME7e6UTozaG4bg9nLvhept5YsHjZxGx5yfIKkSZlPZnAWNFchCMI9QjYdwkdPOWKO3vTPm8x+hSQ6ZH8vAKLMDxrNSWwRd6UbU9TBw11NmryCeZPRfmwfac+IHjfHV2qROvIRduXsUaMuxPXJgz+iIkovJnNN9baAIBjfRXHCbtmKRcvew2IIc53cTJdNF6HkZr0qtQCNIJUJFLG8eoeybVaqkSE4hsY8Va3BKL+ILn9r/NLcJtn0MDkMVEWNw2zBZl4wGRHtdFvRZb7ljVSEF2Uj1bLUnv5udAXKICmobAo2TqIlH9deWrvKHkG+E1q6RdjMJfJETbrrPkHnR6Ump3/iDcIj8fLVuGZiYNP6Le7veWlCzY0Rgsj8uVUEHVXQRKjJdYVY2JusDU0naJMF7rw2F9V4b3j2TdzAtYNYKlo5Av983301zAFJu7GNIE9HXxgq2AlMWoj8z8VEnksbgwCS/wEHYPCZihGZtJf3hHy0ODaDAk8IJfC7s/wQhGNcE+fZ0tOmP5VH1z1PwjbJ4QlAf8lCbkZnNWrmJ7IGkbcamt/2d/zmukY+/1sguEU//pLsFV3mwJCnPg4w/SsXr7HcTis8J/Wl1lI2ZIZZL7V3uT7TvnKh83FOF+ua+6aXaqhMLi7yP31Kf7qoOQkguPeBMZ2bISnZoqvkv8nQivgBRZOTAtLYDj38hMrMe8AQovkf1uEw0APOSiOddh0XhYPJbVg+NJ9FCXxtstelAB94cgzGCUQjfFsJq2UpeTTb8IYANZANgtPPAax6J1fSkxLcTGIDEEOrRsYlX4dFHGGIVa9PnwpY68HOoVX3Z3yYe84mAok7Yf4gne9/nZf0tZRSNjF4Eect1DRdtyooaNCBprGqW8G0So3TFdR4rr8gGzC0mWW7VYZClIGDvMnl0z6IIHXuSWu+E62YFJnwy+rwr7Dp8y6iHmRpsASlPFSOY59H99tUZoFcoXDQ5i8TeKm67ohl9A+uB2TBjy7Aw/y+7wRqsr2oA2lATf1kKWs2WdyW/LKFm+WZUJvNq9x2/9sWQD/4DzMXY2CAqlGTg86fG177X7nJuVaxdz1MISFD4y18OeojEQm8OD2DrXPefKxb9NWaLgQSfE3KSY7U2JMGea/HFQPuu8GDLCo44e/fTKx1YT1PW9ZKOu7iBnYg6aJ7x0bMv8RBDgPw23MQZdbdCzNluSq9UjAYI9Pj95Gjj1OnhyFzWeJUGM/UTzoHmpkZ9mcNaX+TgCsbCmWN3SlfXBaxx3GE5rustSQiP2fgSq+jH0WtOYlC48eSQb+D1FE7kkwOkUOIa9FGuUd8VG40lg5jX2zTV3gm7Kn4J1O/+FJOJMmOSQ9EwSowr610p4W6vANwC/FdUtZXKjs9GiptsDRNp5KW8J4DrH1q1i8QlHNlDAXRfswflopURhixHD0aJmNMGK8YuU0vuxc1dyQSe3vs2MpbYqIUtyHJ0qrfNGIr0Y8fpkiJDCJPvzozLZ1QQ5mKPFkspyYflc41Y4kNJn4vpBp0MJ8hy5KaiWb9tPMRY3W/C0LQzYgIUNv//1d6fy9JP1pSXr5GscwtAcmx867kn7bOqUnHNepgzkhtobIpJ0joxYECs+ouSo0UyhNGjC+1wSNeKKKIQMcaXSEipNvrPebfKj114S1jY84e4NoMaxV946zWQBTpX5VuGT9kTyY/4x4nblFfgaufGlfIJYP98z7WJEHyXg4xFX5deIRVa/5YvUMzchcbK7hQDvy94U/y3AoUYWua2EgyBJHSHJ8IXJmQMmCN0kg3bnl8yiXMyXZGkY48QClx3mPIwb0xl2bpkzaWWODwl8XHevond+KNpzmIgIvH2bWlnkiBL0YtBvJPBLt807DlK4D0HjpIIZYR37FbFyViOeYKSRzMJAyNeFk3piEeb0eI+yWKLyoUMK4C9ImqutfRcULU6FDEXZ+TjJcMMe7IGVyu2QiOg0+LsCt/fkAh6fbYn7tQYZG8359eCDyvbFtHW2YkzPgtmz1YbyTNijy7fnDi0I8x/czPT82+1009HnqgDD10/i5fJS31jZDYJlcEKLRUFMeDf9ERMPjZtCXoPU+vU7/+f7wjgH6v5CaqLljQdeYAaF3wbP1uEHRZaJ4TAk8AAQL269QDeCBCTl7Ixg9Wvq4VPjUdhQ0dsqhLgEEpCT78rj8P3dj7nZEozSK/5y3FSW4MMCj5WZLBFG1TSP4mIpSVcOY/hNmZalQAsMWxkhdXxxG6Bk4sLWXRHzJtJkbKv0pambLn11Hnn98xZBHs7mq/N/KIWCMfj6ZgSq/WMx0iIX2QlLJx4f1M/Z/parJctDPskk5RfUziBuiP6qVpul6IPPEfGELpBoVi4ULCUh5Y96SWcDWvs/IXxwn2/C61b+OWEdhN5UycyMNdSDqiSocBYX4ZFJKh7yJH7kY4O8WmQVBOpsH4MJEzfjTOHbst6+VqroL8MD1OVu4ctqSzp6ygxJWZGharnSYPS7T2eFMnzJvCC5sK4mS0R5LXb6cNrPu+byxzRYUF+1u/UTV7vRsKeOwNEPYO5oUZgHZGEi1yycS5ijXlCsflp5mrQI/AZ3oH1ioNpBfVtAfDjTwRTPKmn2Lm0fBGm/PMFR/Sqri+avLesjR70vLaOoDoRJhF5gNrmj0JZwDSLDj4F4JZT3LYht8DkZ8iA9ZXhOywKF3EeTAazxnjE9yWcH/RWo17cMolBHHIP/t6MXcu+PbfL4Q68fZqXJqxTljPH0vaNGjbc65dxSg4ZwKg0fPmUjR2bLDFV8NQrWFfhY3nIJkywxe8WHssxi9AqPEMQazkpigmZ/4e8PP11axhT13GBoW+Ak91C/UrE83b9x7qiFWwLfNzRk5hZwWzEFYV3/6rXKAyrLaPyAz+7+JWdPSU6cIQ6eMdJMuIAWgyT2pPs38t8pq/aH0OqE5Ap51/QNMPw2CjPQrpsH3neeKwHCuJ9OV09W+yAD4mwOpL61uKR7MMfDqzIJBsx/EBvIJ7zw1xKx45LggWC3jMlAX0lAxsYbTcY8hdbvMNG13ADpC6kF4CPwSwuzZ7sQTjqxz1S1FQQdO4d3QdCbG2Fav5yE5BHCPY7ct4rVqvC69+EWcRTOF5Abqt7EF2kBT8WMeeVnmKEdnsJb6fz4TAxsTI1Iz7IIqeM0INO9UbDy5YcWjCGrvRqKkcW/MZA0EQsl0w7SHOty4w5ZLHt2m5fg3SKL41uEZW8P+9KBShBgrilhYsog5COUsLEkkqSsrk0OwXlgv3gAMp+dUmVHrkEvdccuvKbs3dNAR+DPStrEmfde2OsOP08Sy+JMCqgkLEfKS70KPrIX2m+9Fq9kh08HkUpFpnqF+vVSEtpH0DrDePZlbLZxZafrj2ZwSMf1/3Chl2oJDFXsay1cNYpAMN0cUL5GPWtl/d9PKTzk9fdGme57Yo62SmuueM1LRUXgCW8cRRuQWM75XCPRVAnnj0YYLyC1YNI/U6+JBJbw1q/Mk25fyhE9rA3w/qrCpqkfxknYcjHwP0TFvNZ9Mo55lWOKBn30gBZZeuP3eBQmfJe9bLkGuf41y/F72iyPXvBZgG7A/mA54ri4Oxy61FfhMbgf1O0WZA5hkK7Ti8scYNJkw+gbymBvqLQjUJppi4MDc3f8EbOwnLjbqat1VnknPtI5+TGP+xoCElfcjNJT4NT9C+RUY5Ve7k2EW24xvXQHTEnUJ9dnge32m6ydiumJ3SUT+2r04cyB++5UIq0Lkh61ddDpxbQMB80pHVl0f1UrxNz7QPOihK4GEyD3n/ywbhr2vKJq9qZEgl2IzS2HKnG1JK12gj5rRvCJk56SNJJlEzZ0G29eZZfllkcyPl6my6LPpsSYuU1E0DgCbLfU1i4fcPpUZp35oQasvulxfU1nxiwBemNmxTFe8w20KDVLOuUF3zyLMgPF61t1NHIXv+Be5RzGLDiun0ovmAJPu5+YZwFUmO2N4DRe+THGX3zT00+wLDj7LpcEKUi9lwxGzs9HT5lgo33K/bVWNJMMWA8NRkINaKwGleFm9G25SgyBjDBHdWugQ/4/zgOYhhccjv3xf8HBEAYPEfvdUzfA+5Q1YdJ8ux0sKCSHQdmFAKO/W1Bu+r+IJW12UU/5eV5v5Re4NXeE7fyfoezbZxoJeNm/y5wg8sZkDfLuzhuqzB7IybhuXILJvyejnZO+raPvrhDGttq2htkzweg2fraH6fLzp6/e4LlcITcmVUndrpgGz2uSp8KRJ6QwZgsOF5l+irvlyhXBm+DV0EAj6OPiPiMta9Ac/geOfR2yFrqbuKo02Che3sMdptWt1dA8FOIhR+Ygx90QHvfLXXdo+jFr5J+FOfuBHx3YBjsnvX6jUATl4GbmaR7gXECekhFd27OpXSIihqsiSYl7YsorhrBTF4Ynn+3BbT53ebYt44ImN+p3zk4wES1HVWpYQdFwBN2+hBN5EMwjSsgN8wAPjl6BejoT2tiQDXqkffmQdclqPq+HuDNwqYwIkEQA6r5GtcVrilsLUDxZ0ux9h4W+Odg3ORSlhIoKYlPJ43WnZvgQn+gOA746znesvCdaQh5+ZuMq1jBEhf5dFVJgft/uPbh1VhP5LFWq+5II0YDXv0xai+kWNBcB+t32ZjfMxQKQCHnrDqE2YLLHBSn8YDfpfwlkaFAZ6GBjJlLM6wG3wV49Jv06zf/O5X+3CShD/YHu0rwiIIWZ9urlNhlLIJQdrKllxI7bzJ7scXOh6nMAmP6wlnXCQiSsWyXkGpgcwfn9e6+2n5D6XHzQrVJatTqgFcM6Rd+xCidyO3UNQ2h/E1uvKoVC/Z7I8khbPn2B+oYOyao7a9KJyp5e+KZyzggTN95QyeMXA99WmaaXSjPdUF6XCTGm44RbIAKMZbdhEilPGsijIuTOWd/MB4FEzDFx8gS9dfKAICUaNeLMqxQQCKMKNlEx2wsxpkEFBfxCm3MkR8cmXs7lq/AKcyTXaHXaTJYm0FrhHtTHgh8bRuqg8xN+nNnVdJrV36cDo/GgFREbABdXnS8jAsOFIXOLQjOrVmGmx9B+NiZPRNzPQrX7yomTCUGA65ZdZbqMDvvc+CXC5aCrqFSFfRxiuDG8b/h+OP3Wvaeqewc8tAOlZNrVlPL3iH+nqVeEAUvVErdiH7wnl0EhftRv87VpyswxLL5L4eBNkkPivvSOR/OzTYoZhtTIqFololLnvNkjZC1XdsTFsLqUj3l8Sb5YUjx1q7bRmrxTynFKLm3gBQjlzdBb5HoVRVi5k3pSoHOC0cjjCWNaBpJmmiwPLJe6N40zn76PZL/2KKN+hcmkE4GzpypAjR72qKoErBo9sXETzBESOF1hG7BsRxq2jQxP/n5VW3w8NrfQbCVvPMne+g+0yg2G64282/a8mFWWd9fY4VNBtps7KqVxCqi1e7176Q3FFDKKOJLT2JznPor6nu06godo4ZdsosE8n4PXAH4xlgRz7PPgpW5K3jVqXqsfXoY9UtBNtcCoUaPbCGGIYc5haVO0ePqIkuBvJwue1Bq2i4tw7M71NnCslxQjoGLLolOA+gPRKPI9rSJ4sZ0LoOzI1bvgVnVorFaA8k8CFTA0Njd47kCrI9EQGkaLqsQ9TXK85m/ZMGisuD2bYKNH6LCS3yjQUtr9s37jNWWYmF+C52KJED6ZE5ipQeHfShrWZR0RbkwHlT7Y/o5/0BABkqrk2nr25XyKO/m7K1Fu3S2puJ3HBXEj9Xdwkwuiu714pzVwNQy0ptEqxq6mAUnVrDZrUWnE6cipkrKBVOLaX15m/+y0UaTv+ZBpoSUC+jduyWhUCbg78LwRnKdVP4T2xr0g2fa85PT1CE5FPzfIaflGn6wwm6YknepDSBg9vc+pYF5O3M2oajgHOn7Qnn1fWrw3HV1coMSn8vq3+c9v6EkjWiySai3AB4lg0Svz5wPjPsI+T+ScDgtTD0f66kTpQOwCX55Z7IyRnuzEk91srpqkeHcD8EXnghi1Rk0ujKYFsVI6UTYwW/2CP5f/+kr6vp9wOY/8NSYYPMNplIqgFvHt9EcIrL91j0DJHopaAxZApDWDSGYAkbPx9/UtoDmkrx5UD9nVoWnLeSyDO9LJqPijPIIt8mce50us9iomLMG6+2SLOZt0sUr3MMcHxtFGd1Ivdcb+kRhIJkndlV6xoy3fln1Ot9ZkBqxjmXhCvIOIXvmWMPuAxIFiCdYPl3MPql0YTpGa9BJC91EXiw9jFvKC9UGCLHTYYp0mldj0foMNf5VvO2uLJ8LjqduvO/kcQB2zlHPcQHOT51J6WJ2tx8A/MJxi1aFXeQK8OWMcgRAWWX75AZKoF9fzmQYJhSN6DZQF9jAgq2xvHjZgcpaBRqgrN1PeSQUGTx2w7ceGe29ugY9J1rlhwTB+ilVZ7gWbjj7ZSRXjyEHBp9v+9M6+DlkPxPNDvDOPtNUQQ4Lc0YMdrOEDnRQdAjOltKPgu/Ka58yLQTrzJ+seywGVwLUbYl3wVy9r1WtOJfH66bXi41jd5SX8gk+bNZ3ib8u9AVmtUwvAdPjDfpyF/4TmkVo6VNAbrhRkdaZNdT2MEEOC0r6Huas81+863ILr0C0pdGitc/+li1k+k3m5e7qgE1jqrVGm2iGGqDwqldLz4SablZo/WDuzsljsQlBeCRq1+oPWAKQFkBGyJlYws2n5F6gvcGhkTqDmJLruaAfTS9hz3phr1IaByobo6MzN5qjxFER8VRuRjTvnQII9aknUBSbTPB+4sA95Q8yiNNsaNq+tA6tw5kEgar901insFAKEaDH9K0eF+RJ+0XxhOzZN/OgimimZYeEPJEyDryiotVmMGjWol5CewWf12qqnhOkW9+lIzUhxW8o5vnZ95cldzlAo5oz8LN1l3KwbifQ4DsHgR2BNuVEwDI5drB6NyXYQt6mx2fOPRIVgh1nWzkOUxWGqwNOa1jRXGJmFDz4Knk/sIUGsA7vUeJqore2WMk8D65noDdvUdTzinkQsOfdBr4W0HOTQUSxMW4JJyTqZLSv9qbk5fkGkv0ipDzy5VogEuEi0uJF/3GEnC9v71dMG0ol/eLxKkdggkZgri1khcwYnhlDOTE07dJMv5i0cZSaLPLvSNHVKcfIEPLi31cS+5yKDGUlp6nHnflqgxH14mqm1XF/qe1F4DrwU4Oa0x+zTAAJIVmMYut/s9ihuLDQHjIlqe2vtJ2rGoVTL2LiTerQXMsYWJc0una9LS/cFNg+KfJykYmcm/mLoJXpw8x+C1hpHw0FZT8ZgHjvFLRViOjxa8KtWGaNAmg9Hoaw8eK9zMe4Av8m/Rkb0CWci+ErLBBTgmxE2BHJl6myx7KBkCGcxXMGFfHpLzKxaqjkyObTtYRzKiCPIlAzKxosZ67z6zUl2pMpZgl/XBLGhOtrstE+TsS8SO9HrG7APjBL4MI4Jlp1C8kWl0OkqxGzcedw4IvqbK2gmEZLTcePRTOT4/t+wARrvI2qMu1HqXEH9JoranPT5BYwSBSTLtATxWniNsJs6tSkGvoHii4YoSxnrN9nio0mmXcUE6nl4TmUW+1NboluYwMwa1/r5Z8YBaIP+DWaDTxBACAW5Yk7fSjBo6w9/hAQvbFhV6fF11n7uqGr8jGmU3GoiqDV60j1X22NfPqf+eN95aeDf3M9EPhZpBiR+FSMcERdSl69qXbzyv9Pwo8yEQoNocO7RlTwdEI1uMZqya8gY151kz5MYTD63PJgVzXBTSAn/TGYwBDwxCYeo7m6zJt9ktgOag1Jk7aRBXClAXhXaNQrC0gmsbITAkMvQO7Cs3SJTKO7H/HJWmyorRCzp6niqgPVNvKuQ44o4/bEWTgNxo+0jfawQCeteQ6kRac3KJPuhvvAxatPp8Yeey6REsLYnjRQg4fdG8WjVLao2YuCpT1gyNm4d6xUILOw185zuo2EjDioQHxs9He/s8eRB/5ZOUOSLAso8tTQomrY4XOCjjE167bf8FToLEmJf8l4QtDPT4DKkRhI3bc+Jj5zXffitEspreEmlX5w3WjuuF1AfLpb8D21YnwDABwxRuMBiLy41Rp8D4eDWWyiq4o96jRlV6rlu+alB11ELP4hnErlU1uUHuQV6RFHZpTlX0nGVAaajAakpWBT1j+hGAdgnex3FpeZOmvCpKkT6E5TPEOzIuqukyJlJFlmgRDyaX2RNoh65aaM7nCW7sfgb8yOzYLHDBVHeMC1/P0yquzVrsH+ic2TrIQzVOS/LxymUuyK9wjjSlXBBEYyH0FELP/3zQFv2o64n6kxP8XULk6c50RELZpcL0FPSjb7rZPCmCNyrU4EoTG82treworHDfLRuuFfoU6+O8ncI1xDHnXWg1WKH48+oAvhBtvp0rRn1DiJle8gPZxYLW6mDO47U/fnCoMQOqDPgsgOqPrijXHPjeBF1KewYkZ+vbIk1+27ODCmSaW/ZK2LDs+aTT8QC8+UknjuCmt0m5LgjKjEn8ZsfVLFY7ftSTFwBzp1eIXcWMb7ELRam9fuvxtga3ZKhwI24ysMEQsNqiolvoAw6yr3MnDoEJ1OUGlBQunixDYdQR8awVoojWDIwH47K9VcF0PMaOUCaV1mgcIH9EWL3I3WMX33JWJXJrOLbGX3b0WRNIWsNMrtvkXww4kQPab5FPVjS9uzY064YChtzNwZgPr3p6pyyyUVRG1iT3QsGOUW3YblrnXoZKdNo6QvR5SExSPCdMOD7E0xCDmLGuRRYoUS/iMLDjuX4ViVLo41ATjs2uhdhve7jZU1ld8AR7exX6YnZxh7jMro0JxJToah8Yz2RviEDycoMaZoUy2zb+js1N4sazuUn2gd75fVe+Pqjaa1Z3hj5XvfLsxmZELDF3ImZ6e4XZ2oKY4iV3/IcpSMmhFyQqocUVXCYTCmaeE+iSs4gzOO1OE4LSW3AxMKw1uXfAIY2JjPOvhRti9pqBQPu1HmxdDQEcXivwdsF/wSIeH318AJGpUiMDV/3/EzyshL8zSy675KyNzQRXU3JB9IjP6J4FQ0FW9x/WWjgwtaePaE21Bar95m/5Sq73VQnRvyN0hTJ3WZvLMm/5ABNiPTG09DiKaHyFK7es/grBC3z+uKNW7W47rmEK5TDllNF/sFzmrhezoBglk3GLx0EnPf3WjkVCZv8OdVHZaf1OyYAyv4LyREvIxR4SSimgW1Vxb++XgxpT5d2qll3NwSuqE/IRS3hpg59V5Wq4C2yRnaJ8zJ+m4Hb1w4zfLFs8xNNNflnaTsf7Lcx9p+SaEwjEwKfJY5UhZtDFzWzxCmEbAiZrp4ockR3nxM9H2Q7Qq9dG3kx06NSNSVsuqU2JVOBsoXttMppAVl0fH33QAUyDYP1lUEaohXCiKSruFRb2X1+QP6RZiHammI7BcOV/+pd6/k+Z35VHuASr9FKa97C0/5gzpOPkclmc07ZpOSSvCfk0/S2OkSwuSZlvTx985iR8OxHvu2mWfwyEskc7A4GC267wpf1SPcNrctyAhI7/8/lPOszEHBWnvjSwmyS+WpuuFWrujHFWcfe5LrngEFhRpUXe4hkTBbeFemvQ814OXD8RwB2qQ2BQ3Y+xCQzmg0vU6QLYGd08v+xADB/+R4QF9gjyjgThv8/Ny2Nhg0LKYsobcmF9XCbZL+vcUZEgg48cIzORUOBzGl2RqLp62L2YmnlK40BmeecYBMeTl8KAgZcmhua1hLtiDRc6rd1J3GLfzxsqkSMA8/AUNfMh8ukCIGkIL8WzERog7JHB3LMLnezGSFh97k1Pu3VvbvUP9Ri3jBSeeunWL/1NJZy97z918HfjQj2JuGR7XaIysPKkF780kY1zdd8PrOn5Kr7EvXI+7NwoECvkosCTtyhn7BO7kSeOLENkmZCE1KuZ8OLFDJKoIB8yCeNfl1rwiSE2ykiNrs4NUOpmPiFycpcAm1zHDB0BuH8M6M1Locr/9+uR4Zln+570769/QglSa1LjUS+4M+aVbnREkAisLh9pcW8xwjyIm8F6H3UlRZPIDNW2fApobtuHBMou2qj/fwJBKPKZ643ziE2L0s2Qr4FLbE8t1v6lnraQIEoYH7CNfcMfY3Xs3MgR5Ff+gRjdwo4tjeVoOPbpWz6Q87WutNh5nAX/ZRgHQUGkGzMjRsWECsD3x7UY6u+qBpvOIKhb1/5UFcMp5dqaRukgj0mgJ20DEWqBbFwswwvdb+JmbcDh3AF4kWyaNYfuXE19K19ddeg++kDM0pHA07uHv2o47vs225JYTqKUtI0OjbG/6rHFHlRard+EDe10Ym7+eoETTd7V2SfsQnsH4jzr6Gx8XZheueDYv35sKOr7ZyBfgAR/M7QY81t07XxoBNTl2G/nTjGFgWKaw7fupYNY5PA6MA/GnIYMHwB+jfZDdsKq/YDbPKEOuMXHvr74UkfsYVBHAShV/kxtI9ZSVazBnV61TxGK+AN3ofvGetJbYbgCOrZX+TlpQDQ2VVTlBwjj7lSSw/PXEiVNZm50gVhRLErqMfzdi6VYfuQA1rpL2249E1N3EHXo5MtOzzoEI5JYkNxz/S+VnXimncOQHuIu7ciNQnw55JHV4LHaedabnFexLlzQRjir2CWUSSng1EyVX7dQ5Wuenkjtj/tGiiWwh/PlkbvQoDBeM6PHnV3h6d2Z58cfx8GEIk5rVQsaHbAR1Vjhx0zzgElsj3HItTSJ2IPdEx4wQLTV+0oNhBtPcdbHyGaJZJ3gffJ3Ax5elvkPiaa9+5IcQTHqvt3vTZkg4nkgCvqxLjmZTnY0sV8irKTHh8Y5uMQC4oMCd5G5wPm7GFJdSf+3CYoCrRMpij1RqplZ0ErthSQkPYrdM+Ql9Kb43mF0mXQrHnOjFk5sKn98s8r0+Ez+eElGMVPDYbACS57xHekWgxK0r26GAyGB/1Vj603w/17PpFqJusjPn9uwSdD/2nWq4rzhya+XxhOVpQDEE6TA3DxD7qAbQINyp57ejNztomyaugdS9y+XyQ4kRlFZLkBUENL6NGiSv48YrkfQLVpOOZyUR/bP9cFtFxFRimQLdpMvYJ87SvMAYlPqdndk+PRsndAXWpHkPIPE99m/+HSQnhPognYsIekSdQqdC4TG//QpgTd7wFRekQc+dA/wTNnaLqaxDtkJKTFaFeZN8bGQ4KYlccWIHUxvgg7nCi8TYve6pPY39vSIng/bcl0NoX56OG2nBblPQsAQV0UxkWUipFI3Pea6K7dXhrgcQ3UM1l/VrFdWzhNnhDmU4Mgc2FlZVuXEyaPs6hG9byifNReu2Y0jg/cs90QVPt+nxhkPqvOE3ep0CxowuqUrGhe8ZENSnraSGIr6xfktF12z7buzoWl191+UcfsksAoJM+YJi4dbMnDn9NQt2Yg7uz9jTgcAjOlVktUG9KyyvIgWogDlGna0RzAQI7d8ZnW8+ZpLoOCQo/lgrWABqUHbTJ8ucape0xPrWbLBnqBjk9kk28G/+4FyRApHG44HZ+dL2mrdRqI0ToW2cHhURHJ9ijNAkjP1kkYyTMDW17u47/iZctcBsp8IAMhu59tOF4SlLcWppLifxPDsvZi4V11w3Y3NgNnPVHJcGXAU7E8vuTClSICZwbLVAeKI2SIabCaX4OqYS1yF4qFBlkW6CiszKnhMDhdKzoPWF+au1rp4757Z7uBjfhRI27ErZVnlNSQ7WosK0ZFB0wByxeqNmDOPp2nU9CSp1sNEeXsyBCbWYU8eQIEvCd7VFaeV5XvfHW4ueu3Locjrp0t/5e5sbCq1rW8o2Eb470l1p6NK0JZP+XZvyJoU5tIOjxWriggY23cwFYr1AuUMSh6Lsig8zjGh9WkBbLVT/9tVc8uajR2x7eGXVQoCA9jMyBxZuBInk+hxb7JAfXgb97+o6CuB1TCzs+BJfUrXuylazdoGZdTnBA+ifaNPOO5HHYtpI1/+VwFfAqJoEJI5X+cTjSFx2DfV8X7gctu+mFuyPK7fzzZsD9I0UUMBlD7SCT2gKzje2jawuno2oqoz8+l8lQc9KrqoIqWcWCZmuiGLr41WIMk7OgbVoHyQuSWfr3gCUFAojxd4Z9QOw9Sv3rIoMRnH3Q9jJEKxB9DwZckmZsvX1F6CXv/3a5t14rB4odriAqskR6PRz7hR0GQ7wbf/s2vpRp/NyUZ6qS9mtwYkKTniJkeh3hlGNvXkDTmXMVpW/ZoyH6heNIFcI9qOzn38Vn7MtgIG1GhrVE9vCQ5URUksfojtnMIs9uHqWENivC5pc4v1WXl8gvGbo7dAPNhuPK1CQACHHHgBYVSZrRUfouL1qyaGlHoYr9ohs3tr6mnyICuQ3Nv2ob7mXgDZ/TCmyJvnFfAxPysW9IqspW6mrrBGT0Z49IcR+lQXnMrpUGoPio3xrgwhF1/I2Bla/dOEyw28qkOQv5YqdWqOcWibIVLIZGjogR5OsuplqUYsawZOVKol4dU1KP9SQ9MpIYK7Kjzc4Q4moF/fRpPNtnFE3027OS00SFwKMWnuqkwt/QH7T9MmM1gQZz+mz8D4ETxUAcWNByoxAn+0o1DjXwv+JuHuUG9sADjML0cWavsiU3INAhacIyH1EZ/UeNnkheotCK5rKOKGWWxyGPaREz/ZuOtD6xnnJjQu59E7qc/tFNj/iP7zJCMLdVRM5q5tNJcuxml2yKAlBPOf07Y2RKbz9CoWbz4TrV9Qs+ZU5GMNtfPAgGo71KdBMA2Jz1kHpEwS1Ar/WQgkMHBRzOziPAbPrqp80HFHQLg9u3Hve2/Og16mCyuVKYpr3Soh0cVXWYstrhMLt/iUXQvAwvIUDz0FSMHnydxizIyxH13w4pZ0S1XO2xy85L+gBH/nMpKulN/fyprlL9glGdQpEuksriWhHJdRvrV4mE5WrLeE5EuThComY75cEgmlNWYsJoC3Zb8oOZKoWwQ+vnB7TzuA6oZVsfRwys4KFVGX+EkuFF9y/9vdKNfL+GFnqakAHGZlhqlcpfAnApG9C8+pupkq9elRDvNvyjodcvDX+qyizk138/olLapRp7soxebvhDDhudgD2Wt2L/oWxpCTVxrOUkPLUbOvZjLHfOC7X7kLA+CGco608Zk0SemyYh8aLClVS96+lomeaizJ4ooduZY0M4Kn+zcxRiP7fkX0s6e1Mg61agMNKOzvP3zdSxVfCE8Jk2egfClaNE6HNmeA3lf7B1IaSFxs9LZytrN9TH+EoTU9PgmYns02m1ipGe9nIUP0ioT0kTVxoelSH/vc62cQdSYUnNXTiiL6bP/X3O3hsGA0kCfxsBvDSB91YBNzUhHI4dzT3+jjXguQPYjwIa+EPQudtkB8Bg+rjvHhYIK9mIMrfEPnjLg6TB192BmlrILe8HYrCOX/xQh33c64HzuIZGcWsl/4mvtYG953L8xyL2ePzshjh3T41xIjLOdI8XP9RRFz/v1qntuVDyYs7Mz4hNsN9wG6XcLpMkeUpZBtw8+5rH+HhrTNpyZuKfa4omjSV9f3FUQR1tOhX0D/qfkTZYkjD8RBt9GG6uvA8eceI6409kBVbUO5Ck/I+/M+CvI5SCYaT1w0c//McANw/0jdYA5MkPeMoeWRHJR0EPVJZ8OJHUWMEr4splT12k5p5tzChJJ5+0zMJ0GvMhlkZ1VbNltoGyKId5dQq1oMMFnlWnnCa/SRCNrdfk51CzoxO3+uZ3agktlKqGJqwSIglIWKRRAYmKnEMF5vlv49fp9WvgWptp67OjtlHzKWjDHfPuz0FLkwFM3q5MQGwA3qkV/zhFldeLMQ+sLgaYwN0ia+mfeb+PPlVrQbgnSt7/gRwZfU9+S4OpHBNJKeB3wxEy5gh5u9UgwQXFX+BDpHxLikdZ7rEd+W7z3pmzv2caMpzMnlJDydrl4bLuU1eknswcDSVKK+puvbk5eMsHV9/QXyInayJTu/KVdHjIU3MkIuFFzU/AGrGoBWSSzunIvL13VrKL3BG0FD/zZ+4/+YAOu9FEC5qTmokdKmSvaD+Dn5tlAdGMFi9IeYSCHLCJvzyuWKFVQwiojQ26AjtuCbsSOoZPQUEGc+w//JD3dxwH1Rvj2NgTPuhOagXPS/c7qyTMOEQqaQvgDvXNwGTAqx2SP7sSZADfFzjHLXglo/iuH4w8GzF3Iy0Eep+YDjs6aXGGTY51zFlZxUzwhv5izsfGbKndpokd8qhPedxa8YVKh8A8tGcqSuP8voqAZpN9RcSPuFhKYgw5ijOTkiild7zUQchlqypEptF4PGMWYDtSKlsL1ZtfsKsDgA6Rfc4NNfZkVCh5MLNMGSsA9ACYeZG4iltLEPJUb2M+IEIvvscaFlrTnK5lpQvy+Hb1Ilg31/DKhz+uGlO2dTrmwD8abEbZirV5WItsVdDNTZNX8nM816D9x8tMpzLZk8DHEsqygRsjo/wIWX/L+Trmwh7RlvBHjmkCKLCZsejt2W8gfwj+27eJnAfKM9w/SwsL+5Mc0SZSBVGhe+xgd2xvSIOrG8CGUq88jqNXHYWfceC+wnKvfhS6hLJsuccKzDepuPOlnYnCU1tkAN/ILMjjMKQwYqLVm0QFRiMsChuK1Bx1VYXoFSV2H6Va726sUQzjTRtsE4qixxvThxc7GXTtPCA3R+uWokONJlMZApCKpNoecVYH8cXH4zJFX+gEYILWZyzH3FLV4Fxge4ekb7qtkTb/afE8hyyoXvCdOfj2IoZzVXGfSVSpMLSFYil6AmuY7Lrv0sdEyK6IC+jEz+qY1cVfj2bPUVPFNW4kapxJrTMXSS5OHTAAEEfNoKIlQjx1W+Jg9W3Yh+Nix1rerm0M9yew+XmIIMuUQRbQml/rOqkX4xEtrwZPTE2CN0q33Otqz7Ig3ZFyXV4jU8sxAkf+74tPMHPfia38N1pUkSxQB5gKvCjxfR7HpouWqshj+TblU+zbfQ+ZWtfjFA3LRKHnKSv2WmeWDEL78txtZy8jlQQvLxPrQGf3i2+4xI0VFWn140BsP56LMZWezwODA8j529wNM8Zt56oLlbOlJkSvkiqHAcGdyXRZ5ezQ7uaQHnGxGeXPX2C/ujjZTli/BcV7RPp+DmPfSGsFZOopmj4mCq8+MaAkTL+nrS3nJXNp+4aipatyYQzMPDBcL03awTDdmsCykd2Ft7PiCFMlhQyxGxkzamtACiefT7YfSKE/tNbtMKVq7lQ8+TvKaZCf6ruQCx6LFGrFATNEyVhQXfGJ4WhpqFuSePSmY+gpjO74F3fugOyHZ+1jI5tDP8dAJkaxF6QfsGntNty9teXaDWh1zWeT9GimLUyoCkqXXg1qodE0wYOK0YSt8wHLEsdhUeIXiiF0ibxBTx0hr+Yg9Bh9BawZtRmbQGo+5BYw8tbIoNDRTcE80uzZ7vcis0GFxAD8TsomQA1IpsUSx24nrkOklOlIKBK9YT4WCu8VYEoNW/RqC7jOZYRYXCgXEgIAkNL4UMSxXlPRMrA2AUZDVWkIardP/RxF5TUT9pAwNDTolC18iT62FHjoN2+hvFgwTSnjZRs20LX1nnJaGuCd9b4FDRA/f3FyOuo183GiCeaTu3ObhHbzDSS9hySJbvNse/NeH0YorLbcRkXedgdFJAcdNx/RB9CgZqs/7tBzIpTULjNLUuVceYgzNT86EfW5gpnhO9aRNl2cd7FmbG+/PRhbAFQq9Qtfj0Q3uvNb6A9sxXf4vthvUJx8YLbMaVqj4T0ch5jhXOrx4b66QRidEOLocM8aUMZPu8b+R9ZX/j4o7JQMsJ79gbJpxe118A2Ym7wUX5nVckz5k+FR0zdfcdbkkPZqZLWF+W1ORLkknxFMJise93hfTeGC4BfGi1VNsES8Ifo82rfI+33eNZY9VdEOBVdiZk7Ia8VduXb9W2LhLLI1APA5tJEPxY60yGGWnChH0DDXsofR06LhHucR9fZpW1rsQ2BVhkTyRunPfnyuc05ht4SV9Ic6T5LpZqzNRIKmLbnM2d1qi4s8HeDF46vR2sqh/qe4/IlL6Z33oVWnrlHInwVHPjUiFkd4O/2NEEQ/hr4AR2V9j8OQpEG9TXcJy5nNLfoc0aCEuPoGHCQ9iUYiHXTaPE4MfcCJkM7ooC3WdE1cNdqdSG838Zrd9U3jPolXq1Wl2q09NkIYIBDdYhPGFtSwxp4qTMyDo0t6RuuZEGdN9nciMdzvNDZqDnq2T/N6SruWhpzeJh3jUlXVrgciiavgD5Ut3em7E894Wf2CeVu2h5uPf4hOO5IAZm6ZrTm5k3elyxeNcLd20gvhUbmrR96DsXqwepLjAkHsVAGNLMtbVLlTY93MHuWv7JWioJe+GCkBVwudbzU46TbjUbyar3U/Nedmz0lWMOMRTyOLOL8qJ26piPoYtc5/GX3A3eAApGPBhZT/rbDm10kK8cemE3eZJPHA8TYM6sYzVjjFniZlNuWxsRPw8Nr0aMWr43KGDL/y9spO7Fxj5uC0/3UX33YfFuH0oOdckNB4bsuhmv2Z4hfGoCQD7QrvP/USFzYox+iyiu+Sh57Vqj1BPjucbgPXzj9SDssHjS4Csmey5RcAvh2ZgvOH6Ooq3PpWX8cPtWcVlcy2QKKyymQn3ilpALleEf0WEkt6lK2aUsMQGtez3dfZ/ifWAtJ5FK7JwzWz1pYH7nIJoCI0aUCYOcZwMuEKmAYWd9SIXY5faLK/vIXrtYItDgl3HJ+Bo03pODk3fCFAanQAkybJqI822VasZeKkS6IotZG54BMXYiSBLVq2OYvq29Cw5aSThkdFd0PLn/vS0DbM+v6RM57/6HLWj49k1isHhMzVCBnPdq+j3I4JWbSv2kX17Y+IjZAJ2u0/hAbqJBRydx0xF9yswwM/W+LXK11PlsknxGdWEXeDRDDhsGhfM1fUbx7BJ8TkItxZM1rwDZW4zSN5gnky0bomaFv/eWjjyp4Q8mD8EO4H54VPpJQq1xEpACmbp5oXPVocUrCDoqw6dm+xOWWNbDOE6ArGFARxldkSAXgGrWeQDL3lPKrchVkBOm7pXIc6xM3hN0D8TrbPVfYuKGhFV/GWccComabpV60s8hOjGiYzBGz6Omjl9a4H1Bm9wn10hY31pp9KjzGXN5tu2psiiLXo0XG6OGbkzl8ASgKv4Jcd5mqm2NgrpmqO1bPDmrMf6rZu8aP47+4R+cdcbpqAVQ18zfF6lfBND98+w1pRClIUOzixnzNyf5JWpQrtIzadiJEFgNzlmVKEXIDMUKl9IZY2Y0FFFR2mAra1zCm2Z2MA0oxaRMxFL9WozLfvRYgT+TZqZEBUFOkk0ei9dfhE5LH4ZSYRlIcnjRclPIjnVhQ/9RhV1IkgQXp+GQQjgnsiycDO1l0WSmuhOfaZ9XqeB2ig8SrbWBkmQWQzb73xjfgP2ravWvXzbp7/GOsEcyxLbrzvaiOzjz1toidMvAMBXASfT4acg67FLrbQwTObTajOfh5hHjHSLN8+8joJEA1Xdey4iLQilhvRn3DvUDG43wloYRTwKIlRCi6IkwkfChkY/zRkJI3ocURT3l+XvFsMBL2GrbPA223wPieRMTvpFpl/bdLM2ZTWPMdEvKUxnU1JCF0kTll47p8MnD6EbB9xxIu5lpQ+jIaZxgfTci6QldhzOS/2HJrf1dNZDrM7WfgNeuKoj3ouNUFdy6EcNcNWipWUg1xHvV8cQR//xQqZ434Gts3gRCV4so00dcoQLoqj1fFgK9dIAx4EGi5O8C4KSXPxFWcBuQwppcqd9AXirHXI4+0AnpjMy1QqGbvbSheBLRWBK9FSV3n+RcofG5nJ0aSL5qsBJL4tg7NvEunOWcFdc/vCls2Rufhw/9BJc9abxGD/Mi8tseljp+g2ZK84xs7mwlXRnweeqv4XUYC6YC1DdS8P7TFzdAAdVmy6Dom9ZLrtQkpB12xnX7kurjBimlTQbBgc9VaZPb/OuVMsBbTvSJtvyiIpCFQy4i/KijFBikj2LB02JBtpi3weFuTkLJYypRRpKo7ixiYI8ScS6J4r9tOt3YtV6HORCVXDatHKE89cfZKA8d2AgH7yM2Hja4Hr2q5W9S26GrVZonxSjpXyGTv6wmDzZMLVDpsWleBYDCOSfKVlPUFvVZ88/UeIJoH+ae2gBzvppu8mq+91ZCj1SCTFLA9ekOpEwch8RBzg8BII4/w7acmrQcygWQ55tbYd3ynC72nmVL1CeTYyY9K6nQd6y2PuJgOSew55qpNHa/dGulpEiX/j8LH9udscYyKxvED5/LyAKps06dXmhqofwJmcDSboq0AeGHWjCASskW46+cutYvhrYOPedKPrTgtHwgnTGLKOlB1bFDxhof+fVROskzcOSAAXIGkv8Kp4QqlMphZhuuxn6BAuY+otDvf680SzSBuoR6CoARQkCY2WqlyG2Lbrtbz1DsMYKxldDRYKcyhGbnbAOeLMf4YXLkkvxbkVUt24Ad017j7M3XBMct+UF/6gbwk1cjKb3cL96E0n0pQgnDtZrPIHCHOIbup+KlxmNssJYFa1nKOmy+4Cz3W2KjFltVv6Nxx/l1mOeX+YvZbDKvalXK/NQVUNWjYBdv+To1kb4Oska7+EWlg7GNxi2pt6oz+vhj3Ma2ypfwr7dLb6GZVBInUKNYyNtJsHMK7u4eDTnFnT9KFOdVqAvef+XYp//gwPLm7MsxMTpAON4WRO2W+b71AQxIk3Yx1jfaV+G9WXyDeL4CXHef4+Sm8b/aFeYaobyRVbE07q1fif968h48s7zr2xVya6X73rpsObBUx8Am4AM6/q4Zso5zmls5CMLp4my5/0L5gYegITjhcOZ38KszvJUquxWsi+OOUebV0gqoKx532lpqf5Rwa9joVxylrNA9e83uacUwLu8sZjnoUjSzZeO2XRpxZdINz2JkEIO/JjX1DEPrC5pLs/Uz3WkUxIycDEv8tEb+diWduC5tCJvoFBOaLsut/GyBEe+E5+H3HxFoNfhmP3oyJkeXilnMv42RcNKYRlWGHbXKZK6Y0lAchpbOO41c7mZVhujFoU8joMptsYmPCi/I6ykVZPIokGyGRMwnQosExlZsl97DNPAcJM2PObmFT/JKqvDP+uVR+iR9jTwLzmXDa47wr8XXDq+OnQ10a+Q1vvjiB1ENbm14NlKpXyw26GEYyMLJWRBMTOsmtCEIs5LgZbo7dbS28/+MOh86QRff7HsctXQCzVvkTJuZjQVlRTXtBIzX6zVJbdKefHT93L4EBeT9hFlTVfPYUOLR432qvAVLc4aHAwDMFxuu71t8xsbsXwQoXw4tfsf+yc/LjP/++YtPFEuzK+3iqQX2433OifcTfIdLggmxCbOFZt64WaXshGSKd6GqX7NsMztmrXEJTFoYofzktJRtdtrR7w+D6zzgVRBCli+YinbrAhqDNhMnv/Mk1oq28roNZ6eru9/NapnzTHVNPpt1fT40g3LhxTi/VDfznyx/GZLG01gsz3lHviQyTXpKBVMZfuZF/tVC3CTkrd3HnhCb9BanB2RSAJaH8p37jNNRwEUygMVEjAAvyFvKZ1ggmoSYleGll4oowU72YxkTeDVTCxiSk9YLRZDaE51KBDz6JiLfq/XL4LUhMf2GyUCKtGxxCjYSOOubeCNEHi95op1jvFueETL/H7zA478C8Ax5JnKmnOC6mip1HoMNE+sY44Znz818x6DSNX3OxOfBl6Tst/SiC3hqOsnDn5Ndb7GMNZEob3UTwjyWUhCKeUGmsY90eKsept2H+uVRwwuHgoJ2sap20dSkc17wgPmw6FuA42Y3CJXpIPxJa2agpo8+WQYLHkST0XZoWRlkZVW14wx+0s56jZ6bV/GDTvctw2oyRJchtYJ1I6halKYi7Z/EgMuHYhOjnY9UYUKVE8ubUkJ7le4xBf5nMN2BHqfRfEP7W7rTHkcPH1D2LHh0yDWd7PI2fsmrBdEbTZIRHXvWIVs5HQP/uxYI5eFrhQG8bOPhjIwxpz06UP9HEJRN1VPjTqi6L84O7BpCj4BWWzLCklIH5d0goACpV+3l2yAhSdT8Ys3xYlVnPnzV5WE0oBmDV5I73ZWjUnEwHumxB0VQoU4im2/k2iljdlZAzMscBjgntDrjWTn+weBe2PMnC8qomqH5BNHuXaOeBt7JomSXTJ7SgL75FgMMmNiys1pTkfCBko8JOvB1lZTOk0cUHYpH/TUfxew9ryUEU9A6K1WFZP0uVL3ZD6CbY9jdcgv4SR4zb3e1nnIux2L5gSgp/vxJtoMwKHGKs1shqZg34CcYnqviY35+E32kW3ngBs8P4f+SQVd8SJQBqKYidMcKyAaGg7HnGmq/V2vGC3pEGjMntl2WwpBj/CWRXFlZmQRNx5ixKemH2/pgssAQadaXfH4lDHh90tPL6ub7/oxCKd7ZGkgWZafd6pRD8IJ5uUUij2AsvBqQrDpbgvaof3EXEqCVuOMQqOPw2VmJmwiBztv58pdzPCzXcPrjtbtu+WLP97RSf6hPfTjawr+Cc1TyZ/H5hnmiB705FHUU9UzXE+HsYmcwoX4PUSx3sH/7+iA8fgJUYV3BgMX5NG/2aVXcMt6FpM/BFKXlgyea3lx0lfCjIiA1ZuXVAoCQQaG4bFPdCbqzPd4qVvIT6sz9OKCy6UQkKiKBPjwLv8VP3diTYP56X2j40ZCwUkBM24/Q9zjqVXee3aoeiIyLM/qcX4w1Gx986a26WGHQn6n4MjRRqz8qbSOz3C1Vp8IhMcPB7o06nov1Y49xc7qwSEYZTVMVH10/hksg9knBlhxO/mfmv/4DJQLOB7XvSGrSBFRAnHbBs8pZtgdQRslipPFbFnVmxd7yrV170pQPFpupTgdSR2wYwf3dfx6E3g4/9bfia4CFCouQONTFimHt/Uof2gYJy/scsKhEgOGt46qctEOZ2TPhR1ljmsDBDzVsiHjd4RJKL7XJzmyMl5VlFqTDQcmb34IZ33ZE0SxJrHO2rPP8h8hy3TZvyzC0gKqJOubL9n/TNEsDDsZ0XGow0qguadj6S7N4SzTvmZon5XOtJfp30zZJYuIGYx4lNeoVB/2BPPbTYCFmSTXqLkw8Nke/WuSBKgm5265C6vpM57uwrjEq1VdbObLfk24Ph8UAeAfDPWE+5mHYk64Js5HYRFDqdOHOHUZXOUuEAWcxLJ9NSIhS94RWjr3zpNGu2/OzpLQ5g/wKBReXRPrq1eWHXOKGl2s9rbnWBqNSmlV7679rDklU6d8UjMK5U73xjUVPsk0BRrQ/q74nMtrU2QKEsZcvv5DRxchAwfBlCfRilDuXb1LM4rdwE1ViQ117wG2V4LNhj5tfHlUmiKFB23D+Mfar17owCknICW5zM2WgqAGaF44ptE0Bm8frlTOScEL/KkFIR3TZHz7yQ9C+0VmdGh7caOQY0O3QBqNTg8hl2FlvtccUUze1zH0eeEthy+Blt2ioiOocpsPdqqqyvmm8Mhc4AYhKYONVZLGcVe5YdWZNrgxYxUT5etoPw1o4hHe0+32HM8FBDj5JVNFtyssDjmsSH8AsR3GT91UUDzuRnub6R4hPrYaSY5y0MKQ6YpF+AHe4mhyjYqauPXapiyJQiTcu9CedSHwu9KcC/Lo+lqjJDEN9j1KpHxdGLH+r1qARsRKfaSVbYBgg+dbbbqRv7DvQ3oUKHLzKZcev0gc9TFHxJ/f5NhqMkTBSTJbdsPN+xDwNnefl0qTUXPLkr+n7A0uUCmZL8Q718tRprJdxP8HOvBVk1XfBNoluo1EVJMQ93sWDcnW8td4opnMEl9oHAYBSBpQXcMCg1qnw/G8V6kjBAYAxLcp/iyJpuFbuv1ZHJl1+7bkog+MY4j56AfnXc/nnpghYWpvUfsC7TCkxMpMCZoLHxMpvRNFYCtoOmsVX5n9wbjLdKwJL7ZuLsg5dOwtpXSt8WtDFRjj3VVFbaZHy32P6BoeCC6xW6DZt375Eh+gDnfL+gVI7CLNkeAzATP8lcaO2WBIenUapzM1lMK+lwAOg242fb8FxsRKhN5Wd72ij7XWL2k9AkM9aiMgRTozwmy3ZI0AfIWKSgWiGBCO67gvKcj/Vdrjy7MrL3StSwNJT86sb1wXc2P35mWJH/Ket1QQ5nZ+a55P8htcBJaS9UKTBK1807mfLORChAzPXvZQckV8MnnThBIvTs54yFi8zkdWnwVQ4qXAEQ74v6ncN2KCVm2Gzl7ORyrRNoBqG5D0g0bCsaRf4Pj/VKCz2IUa9AGad6BMaayv8bEfsFVmz+XrVLiWWj7EnYluGXM1S+8uMqEr3fnnfesdkzhtBdi/exT7TdgpKUVLC/7XMIIBk+NmC8IlMBKyg2eza9jHCdP6VzJVf0bIGxNMJar6tybh/SX96tfYtqu5QQUoWCVOBM+WlNTIjVINTjNP6gz/gCyEsfd6Mkz+iYZZfuKuXiz7cnoIK6j/hzDZLzAlrIWgFegR/3jzxKZu1YUK1fGKZbnmcn4H/1yR480E1P5TaN/HmyqvfYivqOEkMCV9DUfDTk+z7vyNwIbUrrctP9k20cc/QeYy23lELpBl6ahLLqhNL9/q/eVvpuWCh/i0RaKM1yB2NmaXSTwTUUnDIndq373BgDCNAk7aVYi68ttHTe7l3snzhJCeHvbB7VhgDPI2Cl/crb1twSjU4jvlmBtn4uRVbeRwvNCp5Ei2z95Hqeiu1bFE1uAA0qQG4hJcJnCgYX+Ez9JH/S2eZmwRFO7X9iOvQA9EA/3gskl3JYlz/ewuuTsyCjFjXYr5Mpt+SVeP+QTft71bKs/HkmuOvR4bclZAJdniiSXoGPqCcko85SY6ICw6dd8JCZUXCoowBug5ZZ1LUmCWQMRNsFdNCuDs/YEziC1ExlDZXOfKTPPpklTtdSTGwRiAXXXKuI2Homg9A9Su2OOj+bFmWlBSTrhjmSBfn9wzZ3eeEQmwPxDfTTzn8GUceN7FEzAOslHqDsDpdHU9LG0Y9xK8AiQhfQ2Q8S5vpQPoLfKbv6uUmopRp/KJjkV3WCSE+Z7lu1hNRp/Iyl/4rGAQBzVAk8Du5zUDV8M3GETNRijXuc75mfr42BpeZ7IVofuQecmfuJ/ml9Ecaguyhp+itAkPZ+Nf+Ix1PcdviufuViddbjatMBuqKX2gd/qP7If2m++jNL9w2xkoxNp/qRNc/NLYmDSI+vLtIjCjKmvXvC+QI1TuT6fXaeRQ4cm8moAVZNFn2hdEfjtWQ+1QOTOkRMFxOhCR/4Kky1W6gfqYndRQuES7mZ5WU550oFQTPrAS1pvdSkku5kuMYOPWgdYIFip85c6UgStwFL6rZLwNngDg4ILB/8d87ipUOvDQQFUtjyRpCodM89/Ueh0OBZJ9Hy/Yp7PiPMcJhST2Ky7jVA45bAT1MIKHCfbVOpChuxRSqXT6sxSyXqIhYaJb/TJfy/7a6aT5HyeA3OCoSs76VMBCakuHqwl+iFcaVczVsvQzwhA0leuIsAee8MFNG4hWdpe/K7JxlD1IynwCfqBsydBWaQ2OvF1xSA7EcTs+S3SD2DGbf21R/NyYp/qMlemO6xTxM11XzKx3mlDFii5bA5jBq4Yk5/TCPbnK4sl1iaqno9zgmLe9jjBWHrBO7Yelm5XlxNr60P1YA478tAd5kNWOOrLf1Tn37qATmF1ibceVPCFM2cZ+vAbjOK1S/jPI7mnaYMk2IMkqwHDR9vo0SNPDZXGmJU2giEF5C2oGeL5fVaumvktSivOFD1KuUo/e18uNzAVLDIkntj7bZ/V0iNXQqV04wpETjiv6LF9HfKbFIUO4NonTKZSOp6IoG8kICDMtuSzLoFs6kd3UFN0jQd6lJCQ+9e0Ida5Z55zvpnifI2vyzm15NWjrgYZqRt/oZPH4I6n6BJe9h4KmSgmjSdZh0s+4/xJWf4bOOtCf5t/nqNZeD07dDFGcI14wfm33VVrSRSzYei/T7RqoMfWVkAGeBf8IcoCFyGOl73adlN/fBsRIXJca9Dt0jSkaW5sS107hMZJrG9xiyXv70I8TKUfxpauiUNKMgIAQBQVoC0cGyr2Zt7E5W8y1xph4092gD7/BcDcOkUZnWL3q/7zELCL9rwz9NxtzVZqVxi2PcqaGS8IhPot1J0C1pJ7wOLSXxCpKYBtMWYfVvuYxDyb3Ya/rWcs6maG8gu2aS17XUV3WD2fLMIUhPJZCFqmwEmnhejHg3BWTig/n6lY8ayQ7X6Rlje53LIYz53zh0ze1ROGkXruTM2mw0HcPyBGDv/2orTenTbJn/m15RO9bZ87OcEHzCMMTM/UZppUlsHtxAy52CYQTpB4ld1Vvu5j7CIamFEf0sbfBExa4hQHSm44EMNlFXhwyYNT7ULC3otitPrFP5ngRRzyGifSXiqM9aMjhOT18bRt5QowB8MjnIqQfNN3/OT/WKuSahn2XSSZ5DAG7zUFKlqTfQgnvAbVRup80u9k9UFgo3dJtZlXTVKliSzIvbDQSd7SjFByAhrNmg3jr9ThUBapeLBHaFiyL8B+/Dfa6jY8HlOKXrvEdrdUXPDt6X8E3w1b4z2dCbOOnDlDbWhPMcjEooRrX2zs3G+rsCqz9wZSxPCHzVc1+vkFx8gRvqcDUjLgGYanRYFdrbhrK20DF5p4dfvQQE9y/tY7wKsCU1IrSZWQf0Gdv38z+zlWMRkpPnMT4kFMU86wGiimJ5URx8s8F2kDy8oWvbc+juXejtdmW1HmseUf2g2ZMfFRmRtkjoD+GigvSzvBtmd9qU/TP//C4l/h9IJMp+h0xYbZy7NdzFWCGqKgGJLlTPmT9+JI6HQdVqMIpmcf66uy8reL0u6l8otCUSSVAKbyKnN9BHE3EFxTpOoGOo2mQ3rYcDeAmFX/frlgZ1QLOwSsPLLn8X35hSRuVeTtas92SrWfmdfKwFhIriGRVUuVE2DqDLVKK/Nm+jmuEacbwxNKXq0lJ9TmKQYvakV5rGNsCi4kBHKEGWMnyWich8d8c2CmU42aes7htCjMl9MsXWVY2RsYTBbHvDp9Lo+aj5CS/b0zs/UF+nRx93f4eOyaHaa7bqp3f/A4TgU7oEM4WRlGJ9OhRKTMlls4AGw3SDXySXGyd4YSd0Kd0O27XjlJBiOiOsP0qCkaSG1TV9tJb+LQVH7ji71GWHuA2Sl/rApDzyLR2ijOBuRImZzYGsEhon9AKmTGOa0unZdKmp/NX88xhY+Rgf4Nxd7wCUDcZbSaNosRO+GyXpqpFpJOlqNbiqG+OBJPI2YSePA36G4hnN4VjPxWbjAHMQxhyYfMCFRKMhPuIc73GSyJ/SWG9ju/I5nVQNJ+6tVYPb/JJy/Lan0iYy9TKVcSWC8hGB3HEOBIFu9RN0SbY3ZkF1/bBI82YDDg76lacpZdN9AE9YRY+AdtS/RbcdOLbX6bj8U/8pjPy4gn0r6qL0WPlSzv3pKanc/4W03e7SAHSaDvqXNKZHyXY3otVj69gJtFAM0tutfa+PmJA+HG0FTpIqF/v6MABZVty6rewHXGpfYLaoJMO6Cjpcj7q+CV1Pnn620e3KyD91uA4bTTAOQgwFZkRbxjI3YrOHGddmcKUTPcmvESLk+FEKqa1LCarsaRpkS51zRDKkfJc7Oz1Epx0JZlV+i6OBoG1cUymTN48UP5JhfngKUzei2xkruvoJv7FY963F1xrv1kGT87O6+fbYG+I7H0ERt/K8fMQRA6l+k51ueSZ8Ns4ag7gtkG/R1WTAzpUQ/9WBC4gsfuAbmChzvOsuQsy6eCuqOiv1m4aWoZGflGcMbOrmRhDAorZjXngsE0QR8HsPNe6F5/D86ST9BkzmVaPoa24rkoooTOC4j7DDp+kAtUwM/077dGBISwJIZqXZ5U6toiVEZc76Nx7DR5dGvSwNvVAgEpb0Yx624t3UXJDkgXT+1jpHncZwzkM3gUovTj/y5Jv8fpsQEG4/JI31HQB9HX8zrox1u9neYhTZwhb9ku1Cl/pfvofD02Q2mJREiyxri8Dll9SiofU5QwU/O1wFkZjYxeH932ZMXgef4wdbH0EB1RJ4GKZjvYp/65hmnJlXwRw/7Otc3nQy3iPFw4hyc6AptsXnye9SZ0fFJDzZ0gE7M3pXcuzpah/nSKZdCWRq2zJua45cwKTOIGjPaaI0hZzdG24TEx4DBDpUxTdSbDaq0T8ji9JfO9FsS2F5ffyI1okm6jlSWeF/zNOsGiSxrma1/GDQnsnL5qJIM/XxPfYCD16zBrq3Lerq9OFjx5m6xUNajrNOceWvSRrTVbLFDyPDTrJIOp3K+dOPYFMpqYLGtmAlsd+ZlAuFIS6HqjGXcSBcGjlvVcKkdtvpicHZrrzHgoOujG6TR2aFgx6BfL/t8geMveTI7Cfuo6ZYRk/ASNXwNUxNBIyaTabxZbjbq891UBh8wSn+MFl1Fe7fUHHRhQxLAf734lLhixzRbekkG1Nh+DFqP9y9SNxE6CBOoXWrTkrw+aSLS7DsEtCuMt+9uv4lkTMateKrl1++OfwfZXV1FbRHosvqI39s0EeZ59XgYPjV/7PDzex+HJF73uZCtjSWV96eDQbGE8tMqeOJTjnTjYDOIwCg8/7KQthTavuUwEy6FfL6UNvjjdVdPEqbHOsHDLXEp7DBrtprfAS92PlGBvFiPDCqm1I3R2Fzjx5ewFO7qar4LVMc1ZS2Rjf+CuN0u1UYIAc2fFAy/C8uV5SnKMjlseJ8IuPnpYxu0jVtQEFjBCdtKj7BZoZuVdvHnyM12nFwZVLd11UzPBM6bzB9gSsmwnVGhW5CzCiSSupX6anTJknUMrpyaxE4bYj52vgLhDOC84vBAHKWtqy8ytrqknfiorGibCppMU2RqcKwZbrCXCOPi1ox1NTTIZE0nWKDHwC4UfpFfNYBsKPxT8VnNzwvxTJZi2/mbv2Kg0Ilp34lUvB73DJXNk33BzWSB2wE8CVnz1Vnl+Cdtm8J5XXvovWrzbpbtu37SneMHoEQB7qQePbjEJ8R5mAVdBX8Qd2SLtjP+Nc9Pn5A1CnjEODoEiHs/B/lCWXebJ66yl+6zG7fyaqDE8BpiDrBt34a+LnZR1FXRRhqznlPAMkjZa62acGoNvprAYA9QAShrVEI+OG21/3MGSTJrDTOtbJkM4P7PUZJijVBGDxPAdMUAaLUKKgV6N8+5gD0AaVJIxYJMh+exFsyW+NcKHNhr8jPHUUCBlMJYYZQZJ60w8iKizc7C2VebF44/54rPHAQ8oMqWSM/Hso7KDyQ2KscesouJtN0BhAL4ey5cjHP69Wym4rywyW9XRbtJat5YE8T6y5K3lpkee/biljrEc8FAhV7k1V/8l5zRg82V7n4DW9wQ139SfQjRKKJ3tBWSIkTqga+Bjg4gnv0aNmJEFFhvat9yTUqCvlEwqr/Vp6+P8jt4FENbeOySJij6fpcukbxwz5hbhRsyHz592Ya8c/0mFwHEOueQd6qGZ53zb5lSqCa99prmAMzp8YQlOc9Rjl4vsgVVny9ix4y0a3B0sUo6DcEkXqepuGHmxYVMBqBI53dWU8jBSyIM4GaE3LhDdrtmkzqQjabeF3VWG8ekKVkma42oSpwyi/jIqzJPtIUTT/VHqvwqnOuSt7mIU4B8/0c2lx48NUh6cOBAEXa715UMHCvlG7F53uKjj8nXy66oV/AmBaIlg5wm2xswR4roImnSedlWHrmprD7EuA6gngGvvzSqmylAQGD/eHJu37dBMVjinrz4ykxn/Pc6Z6sy/5/E7eTM7X0/GsP0YF7ibrMZSGNseqRzWVEIuntMw56s8eUIPIZcHKh9FhU/QifqyDkmHt+7c69h1Zt1GjmUyjoQ8FshxBEa88SbSyaIN7VNZU6RP90OWIq0GEmJtdhv8gEnzfDnR6ViipIOfl4jDQ1hDAP9n2ilRYJsL0NYFVc8dj9LiBXP6h1HJqzW9x3mk7n1bjmiRrkyhQgfu45+T5vtJsgZVRnIYciFrONKa2F7afNeZLHiHPf6xdxkhYPoGRFRxRTDtYYhZ0EuGZ2fp7uvuXkjlhxOh2RB3CmPUwCMLIbqEF/BaPoRaeXNPWx9UkbCvXHjZLVD3oSVNx/h5xdmafM2K6VzUHpKch0lL+wDK+qZAQ4QshuWSdoZ4Uv37Z4q81IP4wxq1/grAehWKB3aIAtunhiK/rGo3f+d7dqvXP8WISP+9gvPzkps3X23ubGQKouDzaJNUZDebGBW3amLPkbpDx45VACXP5cQHnSmeqQiW6xE725Asn1nXHaQyctoLKDXxvwZ4hJXyVDOsiZjA3J6nKHe4I6olVaAIU6GEOp2g+aAyhPl2H5uTGu1Us4QyOHdPHjCpnoOJY3l8IsBF1BAwCY4ArEJoDQyicnPPzJzR6TlnD8Px6q8htaNZhluzcUa5qW3cdrDCwjW4fABBWpofWlnNQmG0CxugGlms8LHSmoVeF0F4rKw4p3fjwH2GNKYx9nYvPxSjRZ6zQFUYczIbDicNpAyu2yOF5bOLa89KKciKY9uAKO/MqQXLfoowrjqxvcpcghp+gzSlL+qkZHR0Br70yrW0wNJuiNcOVzLSWNtQzLE+s8rvDZtWm5YkyBFYB8crVot4gPNZUz+PmtW+l9Rrjv6F2z2B4f62Ddh/hNodW+3Si+lXnJOTAKlfcvG9PixVVAAIRbciVNjQp4yLbQR4TQ3RvWrqkxppZrPq5rTObRH3Mb6WVpRghxh5Zk6gXfWSy6nzyI9WRt4qzP5asgvI9SEDo0ea9pkymbhnhBdAECLJPzJVnzLbgSb4SsfV5dFzwcuVoJ6ofw8RnI1n7cinMeLj1Rq0SOriKvDYJTAi7UO+flR0kVLw5NQUkTTfnaZolwvsnhtvd5z6nf22kOUqKFTuY+8Es6fyntRBfBFrHayAsAQp8jYuYNSpRFvryUtPHFw+3+tl7pgLamjQt/9v3hbKBGqDXzmImR+rAeXhRbb0y+FZqkoF4ARMkACZa47nNIeB9fSvx7Prd7YiQNz+nu0e9SvIsWRVTN5NgGQqfVnopkXZdgexTYXdHa+J9QlC1kUVJ3fkqzgWRVh7vQ02Yr762TbQansfC6h5VpwnjErT6QUhWPrcdkYVzxVRJWuuip1S1uyQCyHg+dGMZnYAPjgKjldKe4EWzQzdyj0OMZPzI0RdG8xN1vTnHXu2z2LVI9ZWmSPgWEtXcs5uJ1fUfCJ5yS0uaNqWnDXUvSQhiNMmxY7FO/dfWZlNZvC6xDAncRN3q3NzTa91plJJpyQh8Ux1ThQpVJMM4PNuTdJNJTVTvJ5+UUJVpU1ft72YOYfNzJqdSSL8M4lBmFS+xC+lXrDqC3xm92oEJq6lS788mGK7wrUOr6enPipD2cUA9mmOhi4ph/F7kNGdRnn4+3b3pHnrb10NJwmHIJr+m3en1W6xbWHBVOCkk9o30drzEo1E4NBMvjpvvJpwmZz9hHgqg81nNdkDz2v2BToGxoFYw012NQVyxa5g6fDGju5B+kGCa9KPjiOClKV5bY5Tp1s1ZStjYnyl8w0QlU4Gd4AUYDZfgQT1FB350y8Xt7yLjtV+pXyM+BYrDmUJKQmwcc3VVsXKEVm9QNvU1LNRRt2v6UozOqgQFlGi4Tz++iB2HX1LVU0Ar50b6leMIaLYROEwpdC30t2xcy11wRd0LvUej2WHz1fHf3wZg6TxL6EL/wnGBf9SONhB+Yfi8+1T7ioaeoQtpQZHEujpqP6o4k4M+E0TqMcLQpMxPNwxuEPqFPAxT4Uin7lvJ2YVpzX9XzyN9dlHIeqBHqmQXX1Dpb+udL5roFgULHSE0+6Im4lAq+0uTBpY8moqsCqhEXT3287a1hMxW+4+IhULEiaEToPhz7FKZnBIRlM6W61MpHmYMgvPdDapc8z0ZpV+pSLhrmiAzt+rTZVM/VIFsN8AIKBviyQuXoTuT9p5X4RJ9dhqvLMf/0gLlfqK+c3HNiS/dt5J6wwusQzDFhWh+FyjbiYTALzam7dowHRkxPDqanJZGW1w1b9LQCYh9ThFcAJ+tI/hsAiqaoFxZWTuu+urYaPJGKhnGlwvOpB14nFxR+Zl8pfRpWRlqoNOCcxBh1J3XQzqsY9bYFQP737egDR/bA7YrnII4i9DKuZpNfqNCypW0jjh4sXrizMXwM0KqrAa18I7huglD4FMxY0MorphK35IKQGV5G0k5QRaWnHTCGBHfG2DTwaX1hgdyuQAhiPyY6DL/W1/XUyWrfIq/lFJ6eROvqW02xaNkzc4XVaTKdSG49f+5MtmWFuHWdNHnl4b7F4iXNawwUX2EUAj2jNR1QohV8hkGyUASRzDjd/g7F9yY/ab5lOymJZrsg6u420/yTldj186Ih21eRT5ggakjSEi6P7bk/Lh4kcUfTjxVocYTsWjgEfntwIj8CarOL7C9MntZ8vnK8dDjfqTDq6AZ0x40I0DvbTiCFWo6ab0uDWP/8M8enSGExxD26piaEyAioOZpexpRxXE/A8O1PRoDyyQCxUyYpj3shRLBS2smeg1XZf03xmA3RNSJUPvxOL3Gsegv3x9IRIDYNhzn90tzy4U23TFpQeg00sTzV+zOGLGju+AkcO/PY9s8xWqiTi21BohevoNkYoOMqdpKZcTRIAk8gAx+Q+48abkWbwO0gcZw0TDbPfUrGoyWj7XvPkldaNMCGH57PcR47+o2sRs1TyYF1mR68+MGnl0QP9s8RI5Nu0/K0+KzylBZugPW5NEdHQPKLYda9Q700wtrzTA9vgk8864fZ6IGcbjLvndKbvldvYpsdq76LLWmIX7z4FNlgBy9Xk/2PCbIy09Z2EXFhVioaEjFSFMPBwgOfzTJZORz6+Fqi7YmJ9sOdThES3g+GSmr65wBX9b3pjbpYUzagcTawu18dZf+nK1Dd14GrkhLAp/cMzRCtTtSgFdeAnGLDnGU3Bu3RZurVqhQLLQBsX/6deWHpRAX7FO6IWpt5g0mhHnyvsa4wmw5JxJQpoxRe+ajXl5VcBT9jrDbqfeMY8dWv6/2+tzc0aBchKueOylhza+qiyG2qq5LKVGOs0AbqKuHYUJU9WkcJ/GSTu3SyY/iL59NLMysGdIT9IIAsvsrg1tZ+k5PgL/V8gGGyCHWgMY40t/ooBUFEcrrsGBTM7LLCdOyHHdng/r1B9m59OPho7WGyOwTXjlsk/jLAS+SyjLD1zVchoV/d68bROMv6NPKJWsizamchwJL2Im8KQm4zELblteKdX+ARwDDWBBZ109YfoNc7xDOBJrVzA57utL9JwnHhwe5spO1wep327oD1u9yyEzwuLiUh811dxoH66XKuQmH+EIUsg2M2QlvS6GW2Knm6iqtonjhOAeDLvpHw07Ot3YpbzenUqgQl5lpqRKjqi+eMB1nvhlPlLpApXB3lkyVdbu9c9XBS8jQzmY/Am/K05IyST15w2oybAuH6qCxfHS0TuZ/4qcYdG1Ot4mgJTyOVrRdJOuvLhFL2Xyf/g5EwdpE1de8o/JDoZDLtaSZFl4exCp0ioebpiKDJjMrCCyIW67ndUEVGwQado/OmhSYtMM5Q5TE04blzkIqZoMGnCFNDAJDy7YciVX9mOdrAaftCRMpNfEPVEBjJH+PN1QhNa6Q3SS97h6licjCg13H/yuoBjnPOknz8s/pE5UxFk4cbRsD9fVxFqffudf/lJWndlkAO+L1irdH4YUKvqpXPJeVamJufExFZjT1lfqc+QHWSiqiKZUv1sU6UHWpX/DZG724VOB290AIBq38uZZpRzrECUj9VJT97bfJj+E1i+uyqYhy6j+IgunGeU2cDL9ZuERk/MoMvLPADbv6DzgcXDz+m536jRrkaGkqO12NNhcbjeXLvC7yFghNXdEPvS51pnWjqC/DPgiZg2IWWyuGZzP1Q9K0DkP8WEsLOuHjm8TEc4eG0HS6k5qFCJNbo9zsGy73ybydGAsXM11K/C2au+vlzEZcW7uJRH7zCZkZ1CkNukfM6OquWG+vBzyv7mVg0VnZXzkMw9FnqFsIsMSx4RidTpiIsGfKqjtqajsZSaqkLlHw8cCxWEPe2FyhQC6Dq5rnfJzG0fNGbM/gMjKBJQd5SYOqQhLtp4EjqBSoZO433wrrY2CMkkCw16/pb6t3H5hFILHAj68p5PZyfcF2TcHwLM/kemNZ090kr3S30OPK+aDdywf7La9a9BhiM9fZbMqaT5rfSWeP+jc1SEnoYFbtks6SvwHQ03eo2lvdOAVhDvkaqB+nQQtWFCTtV1rBHzi+7gsiok6tvhYMYHsy23extqFNXADmlNpk46qZtIzBpUsMSZi6RN/pHA8Ei1HzE+nvx7hnYOr7a3zSx6IVK23NRhRF4e9HldHhMSIPafHVD4xpzvPlb2D5nS8g0Ngmjaw2Wsy4kyjNximBiz5/NseeUnvR5eUaAcSCGl2pYdrcnfTotQAsCKAGsZT7YTAV1lFlEX9AfjBXjI+rmXIRUKaTicOVVSCcPB7UTjNAcglHzLwVu5AsvhYtP66JNK+kYZbcCp2M8SH2l9fLUY+bZxltXlK6v8qkrE1aOYLu9JPrav/xXGmTdS8tu5gaRFreggD8blLJVGv4Kb++pEh7xRTrSZqU8YgjkunS0jcQhZrTao2ljKuBUF2VAq10iEvMGPYXEB8zVFHpDC+Q9iMWoS+68aGtYvj1ytuKagsZY3sIHSrbccN2rC6b8V74PS48pG8h3Wzf8hTxGRUA41LhXppGnCQf22vpTRBu08BGe8SeA02Ds9reqmURLN+wAJILbbP0P97NzHIeSzJr1WMRGgqWysFcpAFBZ5vC5LnljnEcIKNnvb8WDMqn8pbD0oLgFku59HwNSA8G6pVP71tYt76yGJAB2iTYjpnZb3bojqf/bIcNHrXCXzP8Isws1r9jG1oCzu7ozzYnpLDZycuizgTr/dXJ1J2kYLcqp18vIjxDvrR5FjiIsuLmYHO+EIbTUJO5OAiSQR7nBoMvG+nbVySUNhn6+a0KHGgdfUnv1It+6xXJkHSTbxqX89N01vsWGdpuSIn1JSlr0B67jXCR0+CJoRfDRHhCJhZoAD5PsR4Cv+nhaRbjm7YP7vrIWrDKCn2PyKJ7vUfnDtfIABi6HNv1CzasK5zdjxNBmDocEpcOVb7s4N1iI6Hc8SFOnD6E6ONu994xRizvydyKaIfWet5ue8ebDnV3v3Z19NvZBOZrj6RNdTSxakSCIiZ1hQJc5d2pJKsFisnZMmoZdDoMPl48jHMj1VYVH0hCi1HHtP2GuWmDe5a4wbDObFXqU1wHDJhzEe6PrtCV5N4E5JCEvRhzajiiTiT+a16HYLdJxdznY0pvpulKfOgkLCzJdKu9GtANnVHMKm/LIAd+sRikZxGw07uF07opfxN09xzXgBHzfp9wAh/mFFOQTa42A5EQW4IizMgig3qYiuuS54CGY0mWOMJgkkrev35XfHbDrci//FczEYir5n2v0aOjs6o9rsKI4cmy20fzJIxayi5kpx6gVmzcEINBL1NfVmyRyyDlcKNuss0hOWJjngCfQSngiMltsNvChMRf/rXlRrwW+ounEmtYTBFhdb5NcDEP5ea5e5OwSo/reZrUljEssmmoYh5AAJ/0FSHgPp2Is1/a+TKB0/zgVLaZI2TSJNmDyuAsXhLx3aiGmp2NvHHJRSuSBRS8zw4WcwyhG10pIMRpv2GqGcqKBcFRhrKp6/SAosWXJCyQ9Mgf7ptDgNwATe+xl3+Kor5rUzERbdqh220ppSvz4qItHYgmr6OE/DIJe5uH10By49n6/ZfOouJMacvDcMXRVNVCLPGY5+Ke/d64m8qFQ9fvFvKrAmxfbVSyRa0LvMFWbYrKdCC9d0soyuwBjlwUh4GGOiK8WXA0qXES5mszrsyFk5qrCpfcWfmlStcap24uS03iGnUKOHtSBFHISQ8cF8/cNMEyidt6CpGZ4T8y4YDgQBu3U8uFi4or8VHBL63r0Sm9Q47YsK3od8pKCFaDQvw4m0LpEcod24qnD5l6BlrxLys8i8isOvS/TQ+fA54+gPDf3BV9JOZ8DFmGjE4qSoiHtjZkYDzVYZfbRnVDmrr10rSSxcM7Rz+tKxVO/iBJo003X/6XAMPeeCX+CbKSsV0+ZpZ1rVn6UY3E6Zhr6CcoV6RYr7PdzCHuAuyRhqEG23O98V5LPlpRblncsD1WnbqwfoGZ6cUYvFP8uyCM+pqJDzHpCJwx5xcwNAAVtHxlxUML9dnkOUSe75QLyLaDN0IUnp/IG3Ro97I8+D1DHoCHu+HgMoc+ZzFUx+chfpc8e5O/r4GAS0I+9MVH/U8BC4tOJ5LjuVXzas82m32RGUq9SgK2JgS7LW7qKktRRPw/DGW+JgwChEXfBPbeUuauXNn+ofjP2tWAR3EOcRIam/ge4XkXuPMhtObrGs5tf55mdinomPsnWh+GPL54gPm1VqIq1ibgd6RbSNTYBxYdZa92xLlysPEY3jxyEBGB2AlviV2jtb/euOagYyN//XOnt/5RCaCLGP6gltjp5wagVRpezZ2MeAuhRjDg4cW09ngnyRzDYcubn/zU6DbJWqPIH+C4RNnChaeAKL6/DgHDI2dWGUFgdxXUyzPLSAVld+bHp9JKdYjbJqwYFGHjILxXzPCr1n3D/DsGC7epjf3wXRl3rw/x0ec26b5Eg/l3lY3JHJRluVsSIz0UE5l825oqLfLpTO+mY+JIAg6EHVUT0ObpfjTR3MZyhYBKs6Mt2oxAYHDR7W10PlmhU0S3It1NsOYzLXZMYbiNNvG50/HJuQ9AxXQS4135wX3NfPnRyBDEY/AuKC5KS9V+CvJekDPIyIpUPYC8A7LHw0XFxYfcBZpap40vx4P1qAp6Lgsl3D23EpX9sTdWxRhaZdpbLyAVR+IZU4/zDHqYxWuDYethOa+ivqzmeKiTm3t3hwEi+6Edb6arueWhsaBnAi8+h6wOdLOc3HYQ6M4/mtZ8+qMM6tDQaSn23XpyiOPoadGk31aDZZq+uz8lqAUB6BR12kUKUq7v4wwtwK0pNPkDUaEk/azNh/gR703rreKLZo9KRg+jrG7zBVqlXAD3aGSlxshIGhF1iDLdx1S0DzfjG4z47mWW+njKP8cWnMZkCjsGKvdj1J0Kf3kNOg7NuZv7A2Riyr/0ZKDGWV4jtVEAPc0oZtPhGGGHX6fMby+PpYJpKHv5lZtOyTdT/aMcOQiUEkAqfjsObuMcoHfuy2hXG+lAH1y5zMS2CC2LAwVtIKTadTUK5QPzjlXRg8n2/N5hF1p1mmCem7MlricLuMbik9M20Y4fELz9FfPhsyxZ/H4biz6bSRXvMk0X6qwldE55xAOXe6MashnMsJl5Vm/Msc/ChvQ2PDIxTqwswFtD3aykrwF0H1SewQD7JsPOGCAvyg6EIUsaAGHlfiyJbPH82V8Jbh3yI+QkXoWTVET2pMMdWwPJXpN+e9BmHqBr2svejQggrLfFWnr4OLuGB0SuQVSjh8ixVp+jgxusVjdTIdFvvmzeHQdzyVzsy2bXfbyrqpZpJg0bbi2181J2C224IWMmJkHsreI4WuSvN9xr2k8v255sqlje5OQOVZrNbHwokcvXR0XBiHGwt9q+OW7za1/k6Lb6Z9LGW2ulTWk/UJvRFOQDb0627WABPO06BaMb/5nlRECyJBCn7vXEr0ZpIiyNgOQcBh94WhNg1WY78sc+Wy5TUlTHr5plFbe+T0GGEbpg3KIBlNgcPFNTGrvUpYUAJHQYpFEqp60AW8LxMteYn6m3k/4a3Ted9ehUtljSGfXZrNiYw3f89fC0lhMrXKxb032/AJ7+6lk2Gipky0UFK6fpTUMaYPLNOSCVcqPIy8qR6Pgqgk3GJ0L4PqIBM+l1vezs4NmByZI9pfwGjeoYDHRcBtsh4L8TQu8Lo+PAnISsvM1aZ0B/m53iGEnoGihncI0IZTURXJU7EaV7O9uvnOTEybORNixuiZg4Ua1iuG8pVhO4aMMfD/IVRSmqZTtmqbHlPdUrlAFkG/XzTHNxxM2iHvArCoZZFNskXlCE0oXorEvDduosJsydYpfnLDVZ1GibJAXDS3H+0oJNakVZsthYcyI7TmpQSugE+dk7MfIsIWpZUNFIBha47bmN86rX/j/KbUKpQBdjdDzjzFJ5ekDkoiWVRz9H+lPb8d06NICT3QuHqKuz5EyPt4LI61N+X8gWfaU/WKQl9MlwTQmbuby6Sl/1UiZUHxqKh9pE5wvD+sEJ0eX3PQtMgFpoGAF2zQseSTpLFunfeeQTMaPYZBOWsWuY8smxvd6kldApp0k8nDGBYE3l4Oz43ForZhnu9HOsvdIqFPf/HDEkt5mRGCdmISIShSUpLDbC57+PceOyhuvcVr7xuLQGYjuhiIGaZN5BhPvXyRcJzxYeTw8/MYwXG4c8ExGwOmJ6pyzzxAHAXZxbxcZiYxeU4Y4g0HxA6xHHCZc+xgWRGsa6s1u8uMOkniNNgt9RGtK0nbJ/La2vxuxgK4cV0hxZbFoq5hm4KNxgx9ot3GIbD2YUg5KSD8NwFhIJcAtyoBSkQhwSXntIN+ziKGSatJuNLQQvbksw9Kpu9rLvJZfQpjflu7h8HUIDnblw9yK3qFRKe0T2ePTBm86qfXy+a3PaA1jK8refe3wcvuoNRL+MegTh9jfTI5r/jZhTziRcw4h/FtFpo/GtwTsUYIgx5k+u9JyCanLPIZvR/pr/6GENTC32aodGWQqN+B25xo2ugzJiivt6zsTTlR7SI7Wl/l/Apah3p6LcnhKmNW89w4yJHOO72Ly0HCd3h9NUpWY9mzb0ZLLDvbLxKLiMcBK8+h/DM+IlZG5LnKWIrqY0FWl+3sg6emLeEXm5wWgTYJeCWWJaSeWeJ+jqlw4kk8G9GrFfH4wtIxatuchrEvK/BjCZkeUBjTRMWd8RFj5JBWEXZ1kJkdtkQood5urX3/cM6QumbVk6+oZHr5U8ewoRBmKvxGL4m4gvmvX+XaTVvvpgR3GP0mJ6WQFjQVNfcIAjYhOfpry/rt95tq+eJM+Mpb86KZlWp6wUpCK+AIQ7d3GiT5/ZoXRRXNj763xhcN8n63GVuCyFvtscCKV81UVCjijOVLs+arFqT+DSaT342hdDfy7V6qbwwov/DetZiiFA14blsLJ+GEQk1EjQ6t5Y9e3IwbGdSpYLwHfZERHJqeTpBNzlPiMZ/YzJ0e6u6rFPqe5JM8HGTLvjPZvlR8/jTHQcNIz4Aq/ZKNYZg/9y+W/3NgrGOkvcp1ukK1CEWokKrZQdd2lWQmUBPMUNt96ppiWL/qLMJwyyO8QX102AGNioPTAG4r8uq3Yqc33lYLvfMA2d0PkGnlkXmWLXbytSY0/E+rz3jGKp/WREKLTpfMXNrLloZL+Rk4d283Hh5Vxt3nqveOnYvi5KzfTIL5YkCgyN48WYyV+lv8D1HO0ykVGLa/Hizg7rPOtQ21DQ99pqlw2JmBWXf2VnxpwbggMcz2uDLhPB+bZK1Z0VCzZbg0R3jCJF3jByutXuqayBhiVs9Yx0hgMg7Hded7IjddLdvT3doE+h166A2tSrfKIEU8UDKxUOrIuK1oaktfCGpYYmNOp3w4XkDuDb7Lc+8mm+GhkWvscLlZAEqXNdmWxI35rbWQUsyTUTJFcJ7STFUriVib8dah13p1+9+PBwIC+osLm0ZmuDlmSln98y4J7g41W9EglJ0t7AjXKFkGA/iH0a3mNDLHw0ltc91QutUd6qfwXosKDRohycFRdtlu4TYecBsMZ685LN/Al5aLIBOzdiwQpssU9g8GB2MGbe/1FATE6TzdqFK29ZHKjkQqatp6Bgx7GaDBrHiuSb97fqAlEbXkGUgRqQmmCUZz11/IF6JWJTXWbgnd5jLrY0XSptSU9L+fD367Ye1/+qRw47hdZFn1hgCtOp2ZzNDtiXuPclnEdEjIX2H9zDxu+QdPzwptHWYLHS/MaVXrkedXdND8oTEWAM0COO7GtkvaOXUjDqrZD/orLmDxLX/Cmn+aChUqd2Gpc8v40KApa3KjyYYQnv216rQUlt1ovLNPCgOJZtO6P8SqAWHq1FnuKfMREXbScne6sA4dMlAxAKqkmtcTzJgwjUyCNsBw+JZ5dxCOKJgKB4vdV6BjN3QJhRoZvbmFhzv0MNFoHa617aUTboT6gQwvcLpySJ8TtftRx66490rtY8tBZzVyrriwysQPsbzb/XaXSBqTAcgWAUW0A5CV7iL2YQdc7GMCh6jUg1wQ03Iwl+OMkM5LvWZOfEqY0oM/qpLMDcrFELfL3AX2X3E9p05sGZ65MBUkqwOTHnG+oqzBUhZOrimg2GYA3+hCl30X3coFfUKTU23uDjsFrSzV5y7P/VAEmGLTwGTcrppCgvEeAOS6sgoOUBhecUPjMkejpS3mw54FAlpnnAKhAngBMGT5qZM2hT++0yMbFT+pcgSLvLvDl7ZDEcc/cmYQLUUot3mBZlrKenQZJBB0+v7g6Df8+282LuYUINAOxM0JrKGOU3dinxtr7NBKzbuYmj/msGtIJKkqQ9qMaUJ3tgQw5m1H6TODhRN50Vi8BI2yuyAsIBc4z9X2qt8PwwQrUda9dFs0kvruI1/u4CfuXHKsrlcdY9q9SLfktBqYQtmAF0SSv/49UpvXa/LxF1xo/EkRbjU8dZdLOexjKkzstkeKXxKHKGY39w0/vKxcr3YJcJaaH/yiYNgxJncfgB4tvSKlPcQGuYOjVENxtQNF7fgrC0DpmbEQ556hoDlhjO5SOFgl0ivaiYUDgj9zFOBuwK3KXpOFYQpLDAoJCTr0bMnzViRpzKcDvT+tm6xp4SlfS8Fuvg0IEVTWboq7xn12cc8ANi6EYh0FV82o9fAp5rw7JTUeynxEOrFI0HeW53RAAiuzlqIxmnqiFeL3QN89QjhLZrg8lU6NuRIB6caz0s17jyBbWpwyN9LIV8xkY6lFIqPyWDusLNmKJ/5jE4rNVuYSJxElbVsxF5n5pKfhhPR2d4IFk+3NXRJ5q82wEsOvikSPFCdtGl8AQeDZi0" title="Mekko Graphics Chart">
            <a:extLst>
              <a:ext uri="{FF2B5EF4-FFF2-40B4-BE49-F238E27FC236}">
                <a16:creationId xmlns:a16="http://schemas.microsoft.com/office/drawing/2014/main" id="{7D251B77-C3C8-D1BB-FB9F-9D62D98ACF2A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70166" y="1490039"/>
            <a:ext cx="7398326" cy="4641983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35" name="btfpColumnIndicatorGroup2">
            <a:extLst>
              <a:ext uri="{FF2B5EF4-FFF2-40B4-BE49-F238E27FC236}">
                <a16:creationId xmlns:a16="http://schemas.microsoft.com/office/drawing/2014/main" id="{129A788D-2321-18C8-11F3-C731AB4549E5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3" name="btfpColumnGapBlocker231171">
              <a:extLst>
                <a:ext uri="{FF2B5EF4-FFF2-40B4-BE49-F238E27FC236}">
                  <a16:creationId xmlns:a16="http://schemas.microsoft.com/office/drawing/2014/main" id="{EAC21628-8B49-3EA5-BF78-C04CA5D40BB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1" name="btfpColumnGapBlocker505871">
              <a:extLst>
                <a:ext uri="{FF2B5EF4-FFF2-40B4-BE49-F238E27FC236}">
                  <a16:creationId xmlns:a16="http://schemas.microsoft.com/office/drawing/2014/main" id="{D950F1EB-A527-56FB-6E1F-3541C0683B64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153602">
              <a:extLst>
                <a:ext uri="{FF2B5EF4-FFF2-40B4-BE49-F238E27FC236}">
                  <a16:creationId xmlns:a16="http://schemas.microsoft.com/office/drawing/2014/main" id="{7813BD58-4434-4212-3516-343F6F6EAF3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120044">
              <a:extLst>
                <a:ext uri="{FF2B5EF4-FFF2-40B4-BE49-F238E27FC236}">
                  <a16:creationId xmlns:a16="http://schemas.microsoft.com/office/drawing/2014/main" id="{25E380EB-4660-D4F5-4DAB-B943355CF009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btfpColumnGapBlocker471915">
              <a:extLst>
                <a:ext uri="{FF2B5EF4-FFF2-40B4-BE49-F238E27FC236}">
                  <a16:creationId xmlns:a16="http://schemas.microsoft.com/office/drawing/2014/main" id="{D0050151-3793-E373-E037-3EA668D97CB1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640345">
              <a:extLst>
                <a:ext uri="{FF2B5EF4-FFF2-40B4-BE49-F238E27FC236}">
                  <a16:creationId xmlns:a16="http://schemas.microsoft.com/office/drawing/2014/main" id="{3625AFCD-CBD6-F546-30A8-06A5D84BEBB3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637427">
              <a:extLst>
                <a:ext uri="{FF2B5EF4-FFF2-40B4-BE49-F238E27FC236}">
                  <a16:creationId xmlns:a16="http://schemas.microsoft.com/office/drawing/2014/main" id="{1A84713C-3389-1507-CA12-A3D81C774A06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407882">
              <a:extLst>
                <a:ext uri="{FF2B5EF4-FFF2-40B4-BE49-F238E27FC236}">
                  <a16:creationId xmlns:a16="http://schemas.microsoft.com/office/drawing/2014/main" id="{C67D56FB-9828-445A-1368-3EC41839FA9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385805">
              <a:extLst>
                <a:ext uri="{FF2B5EF4-FFF2-40B4-BE49-F238E27FC236}">
                  <a16:creationId xmlns:a16="http://schemas.microsoft.com/office/drawing/2014/main" id="{A0FD93DD-74F5-D778-00CB-B6C738006079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184627">
              <a:extLst>
                <a:ext uri="{FF2B5EF4-FFF2-40B4-BE49-F238E27FC236}">
                  <a16:creationId xmlns:a16="http://schemas.microsoft.com/office/drawing/2014/main" id="{85335FEF-D8B5-60F1-610B-A71636A7A69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btfpColumnIndicatorGroup1">
            <a:extLst>
              <a:ext uri="{FF2B5EF4-FFF2-40B4-BE49-F238E27FC236}">
                <a16:creationId xmlns:a16="http://schemas.microsoft.com/office/drawing/2014/main" id="{5F51318A-436F-7639-01A5-D164976420B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2" name="btfpColumnGapBlocker156780">
              <a:extLst>
                <a:ext uri="{FF2B5EF4-FFF2-40B4-BE49-F238E27FC236}">
                  <a16:creationId xmlns:a16="http://schemas.microsoft.com/office/drawing/2014/main" id="{E168A1D8-165A-416F-58AD-470EC5C9CCA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0" name="btfpColumnGapBlocker959678">
              <a:extLst>
                <a:ext uri="{FF2B5EF4-FFF2-40B4-BE49-F238E27FC236}">
                  <a16:creationId xmlns:a16="http://schemas.microsoft.com/office/drawing/2014/main" id="{24922963-07FD-51D4-1533-9AA91725D7E4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735982">
              <a:extLst>
                <a:ext uri="{FF2B5EF4-FFF2-40B4-BE49-F238E27FC236}">
                  <a16:creationId xmlns:a16="http://schemas.microsoft.com/office/drawing/2014/main" id="{3E219424-ADD1-A95C-5011-BD6B8EFFEA9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810755">
              <a:extLst>
                <a:ext uri="{FF2B5EF4-FFF2-40B4-BE49-F238E27FC236}">
                  <a16:creationId xmlns:a16="http://schemas.microsoft.com/office/drawing/2014/main" id="{E6960B33-9597-B4C5-B7B9-53705AD7CF3D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432492">
              <a:extLst>
                <a:ext uri="{FF2B5EF4-FFF2-40B4-BE49-F238E27FC236}">
                  <a16:creationId xmlns:a16="http://schemas.microsoft.com/office/drawing/2014/main" id="{DDF76836-E03E-9619-06E8-3535498E162D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106733">
              <a:extLst>
                <a:ext uri="{FF2B5EF4-FFF2-40B4-BE49-F238E27FC236}">
                  <a16:creationId xmlns:a16="http://schemas.microsoft.com/office/drawing/2014/main" id="{093E5B19-B22C-7F10-CD12-1839477D5CD9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447139">
              <a:extLst>
                <a:ext uri="{FF2B5EF4-FFF2-40B4-BE49-F238E27FC236}">
                  <a16:creationId xmlns:a16="http://schemas.microsoft.com/office/drawing/2014/main" id="{8BE66655-60E4-23A2-40A2-FD6E48395575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992275">
              <a:extLst>
                <a:ext uri="{FF2B5EF4-FFF2-40B4-BE49-F238E27FC236}">
                  <a16:creationId xmlns:a16="http://schemas.microsoft.com/office/drawing/2014/main" id="{D21D64A0-4849-C1B1-42B6-BADB126DA7B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419329">
              <a:extLst>
                <a:ext uri="{FF2B5EF4-FFF2-40B4-BE49-F238E27FC236}">
                  <a16:creationId xmlns:a16="http://schemas.microsoft.com/office/drawing/2014/main" id="{A08891E1-1F53-885D-E254-D9F9C5003A88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706205">
              <a:extLst>
                <a:ext uri="{FF2B5EF4-FFF2-40B4-BE49-F238E27FC236}">
                  <a16:creationId xmlns:a16="http://schemas.microsoft.com/office/drawing/2014/main" id="{0AF45A61-AC32-A425-2D9B-65119895FD03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17877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519229906566328 columns_3_132519229968449503 6_1_132519231416735211 11_1_132519247474474653 17_1_132519247474823726 12_1_132520412060963870 21_1_132520412061440048 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34964" y="1"/>
            <a:ext cx="11531600" cy="876687"/>
          </a:xfrm>
        </p:spPr>
        <p:txBody>
          <a:bodyPr vert="horz"/>
          <a:lstStyle/>
          <a:p>
            <a:r>
              <a:rPr lang="en-US" b="1" dirty="0"/>
              <a:t>Marketing spend: </a:t>
            </a:r>
            <a:r>
              <a:rPr lang="en-US" dirty="0"/>
              <a:t>Target 1 and Target 2 are the top spenders among peers, with Target 2 showing a remarkable YoY surge fueled entirely by online channels</a:t>
            </a:r>
          </a:p>
        </p:txBody>
      </p:sp>
      <p:pic>
        <p:nvPicPr>
          <p:cNvPr id="36" name="btfpIconLines155624">
            <a:extLst>
              <a:ext uri="{FF2B5EF4-FFF2-40B4-BE49-F238E27FC236}">
                <a16:creationId xmlns:a16="http://schemas.microsoft.com/office/drawing/2014/main" id="{BD7A1A58-4906-484A-8C0A-FDF0216A9C36}"/>
              </a:ext>
            </a:extLst>
          </p:cNvPr>
          <p:cNvPicPr>
            <a:picLocks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9800" y="1331553"/>
            <a:ext cx="391380" cy="391380"/>
          </a:xfrm>
          <a:prstGeom prst="rect">
            <a:avLst/>
          </a:prstGeom>
        </p:spPr>
      </p:pic>
      <p:grpSp>
        <p:nvGrpSpPr>
          <p:cNvPr id="64" name="btfpColumnHeaderBox424384">
            <a:extLst>
              <a:ext uri="{FF2B5EF4-FFF2-40B4-BE49-F238E27FC236}">
                <a16:creationId xmlns:a16="http://schemas.microsoft.com/office/drawing/2014/main" id="{387E50FF-3930-4B17-B988-5242C5716AB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44024" y="1340487"/>
            <a:ext cx="7493728" cy="293090"/>
            <a:chOff x="330200" y="995929"/>
            <a:chExt cx="11531600" cy="293090"/>
          </a:xfrm>
        </p:grpSpPr>
        <p:sp>
          <p:nvSpPr>
            <p:cNvPr id="65" name="btfpColumnHeaderBoxText424384">
              <a:extLst>
                <a:ext uri="{FF2B5EF4-FFF2-40B4-BE49-F238E27FC236}">
                  <a16:creationId xmlns:a16="http://schemas.microsoft.com/office/drawing/2014/main" id="{EF1711DC-C260-414A-B6B3-3E28E4139F52}"/>
                </a:ext>
              </a:extLst>
            </p:cNvPr>
            <p:cNvSpPr txBox="1"/>
            <p:nvPr/>
          </p:nvSpPr>
          <p:spPr bwMode="gray">
            <a:xfrm>
              <a:off x="330200" y="995929"/>
              <a:ext cx="11531600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kumimoji="1" lang="en-US" altLang="ja-JP" sz="1400" b="1" dirty="0">
                  <a:solidFill>
                    <a:srgbClr val="000000"/>
                  </a:solidFill>
                </a:rPr>
                <a:t>Target 1 &amp; Target 2 increased spending in LTM, majorly invest in online channels</a:t>
              </a:r>
            </a:p>
          </p:txBody>
        </p:sp>
        <p:cxnSp>
          <p:nvCxnSpPr>
            <p:cNvPr id="67" name="btfpColumnHeaderBoxLine424384">
              <a:extLst>
                <a:ext uri="{FF2B5EF4-FFF2-40B4-BE49-F238E27FC236}">
                  <a16:creationId xmlns:a16="http://schemas.microsoft.com/office/drawing/2014/main" id="{4D42B4AF-EBFA-4ECC-92FA-48CFCE7F9530}"/>
                </a:ext>
              </a:extLst>
            </p:cNvPr>
            <p:cNvCxnSpPr/>
            <p:nvPr/>
          </p:nvCxnSpPr>
          <p:spPr bwMode="gray">
            <a:xfrm>
              <a:off x="330200" y="1289019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StatusSticker690590">
            <a:extLst>
              <a:ext uri="{FF2B5EF4-FFF2-40B4-BE49-F238E27FC236}">
                <a16:creationId xmlns:a16="http://schemas.microsoft.com/office/drawing/2014/main" id="{8C9310D0-407D-CE6F-08DD-1B024A932AB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25" name="btfpStatusStickerText690590">
              <a:extLst>
                <a:ext uri="{FF2B5EF4-FFF2-40B4-BE49-F238E27FC236}">
                  <a16:creationId xmlns:a16="http://schemas.microsoft.com/office/drawing/2014/main" id="{D9E8F4ED-B0B5-CF24-BBB7-6574CD2148A4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6" name="btfpStatusStickerLine690590">
              <a:extLst>
                <a:ext uri="{FF2B5EF4-FFF2-40B4-BE49-F238E27FC236}">
                  <a16:creationId xmlns:a16="http://schemas.microsoft.com/office/drawing/2014/main" id="{EDB7421D-3A93-EDD9-8990-D9BA6C625514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tangle 3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By1jlcdSqZniJF4H++wBqtEIlpCbszZaXS/5sK6n5p/WMio7ozJcG9HGjMN04/F1bmkYXKuj204+brRQ8M1OppinvJ1ml/1KY/+VG0HiOgNRGYkaapMd1OeoNlEkwTqUr8CYLsco4UTjWKr6Zx9fqdxg8F2zrFjDyOpRTJcwdtXafpPEhp6vXTu3QXNJwxxe0anr+Nqln/SiVw0r9Odp7UAqkxoNvbU3w9jN4fJcD8wk85tDJFc/jluNDwuLdYJqkP0zJtjdjadRVOX8PA5/366QYpCbU4xS18UIRR2liprNqZoQvJ80dvpBE854QU/60mnsb0g0qvvK2otDOiNr0yZ5NRP6v8GzzhxoJrih3h+dZfawwDHS9FDYOh8qB7Kx/jF5w5CDdyAHUKokV/VvrmMR1StS2DhFaPdI6lbyVpey2CPLmO5TVsGATSDGx/NoHAHlZmu7cmZ4X7GUhxc+3MgU7edWva1BLdaLQ5GgpH4dTZCMHzYi/AmEvyLD7d6jsgXTqoRNVuXAm3lTcrY/Hr/0HFQad44WODgNAGiqa0BGxez3mOk7dBeCFQsPw2YaICSU28ww/kQv3QEks0rPUtak8lYgBac6KeVMGsgPTGl0JVUJfdU7jnfsS89Z/BgErPIt20fjtpLFrneDk+G+NFDK8N5qzAEikOgtuMA3ZvkkIwpztWslfHS88JAvVS9rO7wBmFrTGwjjn0kf3lDcfAqwDxYPWnhBq2Gfuz3TfijNijC7vv3KIe560R+MzMM7uvTUGkN+7D1fCtOutmPaUt+1Zl7MmkmQmcldBmms6tgDaXxUwlDiDPuZLqNl8seoKjCl+2R+gAKY1LuXrdlGHJyhkcCZmg03F/UlTMEsw50ICDq9HMnkDKZWlRNaL4xXVb6DcqRAVmb3JUbDtHdvzqCSvnRBcxfkZ3pSIK3T3m0o/RinWpu52EHmjCreR9nOcCqOYVwAriVJvSHUvjSwdEiQ1dep3N1cUs1p9LDQrpbaGsXkf8E6qc2vpDklh3WmedIg7rQqlqDXXodnukWasq1vzBIgWRi0RpXA5FzhOLcLYaKWLKr2FbOGGlYfRYJ0U+CyJOs/JpwjAM8ik4TMCi7zFzY/F9EQVUuxcizePb4mPTFyM7dJkhUsqMpyRF9UQdMEIre4XCI68Z4OcJ3niCAWirv7HTMXGueqzTzNdD6XS9fOfTpaHX/AI4VSJN3LmyT8gja44nEQH4PWp2qKZr47j+Ils8SQMkO4BjGpiJdWvgVuOIg6pEV8DQOnkzW7YvoLfzvXx9l03Q1s+V6rfAQTkDJllDTo2oLtAOxSFGor2MUvHMifrYh956mGMoicXCxcH3rf0lH+n5kJHq8uBfZC+3rI8Rgyi8loT2cQgIq7XEorqmIct8b2q4OjTX4/Sljj3N7DrcHLu5Y1PwcFyCzBaoPlKtE8+MLW+GiwbamHPa+okzdFmWbTGBf7+jFNEv4U2cJJDbDmlpUMhye13pqzxWeO0CENzYJgTEm5KD+WqiWDXRsG2RQNPUGmsHc7a31N7EfC9OXNPgJIee+lH7DUiUKZx4ufzVXQHYtR9Pq+v+fzy6W+EY2Bzao7+6bmiD6Sei67+m5VykwNSkWIIBXrvyi1Iz11iPs6qrijSiM39JDX8HGJ2djWlHFL1F4TW8wYzilSJdE+vIN9VHWMKa0VXXImV2jE3OMuHUmbIJKNlNYjqAd7HCzrbuUKJh5eU27D0NxohEwMom+eLYWr73ecIwhHjoIi8lz+Pc1S3iEUJJ3tS/6VDMnPACdzKt1rvoPr9ufccgGNP4vggN5O2sJ9a1v8An7EJ6wMK3yiB3HMamzDkEYk19ggcYgzQy/prJIQZjtLnyWIWQ/z2nqSNkUsLUC90wiasW7uIQ4gQZVoBDnNibjbCXprzCAK81Uo8cDgrEnxFUssfmdSckzjUNDIK3seea+68SIh/+EQoVd5yweZni9OP4C4bmid6ILTQ6LQrP5r4EoW3SJKX/XRhu5XcyienKFbZQyP56UCiaINRlLwfB5UpTOExoGBuNbgpNVrMkNaxx2Ckgk0p0BE9IgyXkoF1zUYPj6lyDf5EpP8XBKz8mE9Pmii4qZH5OewxPHlYMDXdAED1bLIczK6rDOBBteS59h+ezOE9h6hGR2fijtGWSrfmQyXM5RKWewHK5meRDtrGJ4rv/59HY+VzSEmClA8OpTvCdXvtyUxGWEGwtKN/9W/G8rjRiw2QhOg3AijOmOx+gCQ8cHA6qcr5inQzeLLeOAYz5FeZYDnoN8QzuoivZwAGjLlXJSmzjhkFCjFT1NHZzwzDJaSAF7Mb0trnKRUfJMH+oI+7/XdCf+kuICfKVqYQ3Kb97I802wN2H4octAx9XZqRVANDNZlQuIvGXRRFu6qwIjE9fQREXfeglWOIxwuppuO1hF6iQDU5DGIbLOt0PmmMJaXmAGmVY3Ai03S/qXMtju+bFycVEq1+CEIoF81jXLIuUrp1inBFJYxc81b2g1Y/kqFla+I3gc9MZ6E4fmSlrUsXM041FDfLqRasos9mkhmUQebIulQzmzu5a0ecWOBrWcImCodZ1HFdIkyzOPLIIZ/qTqqujUs+7PGvSET45ooPiKtkanEHaY7wxC/xMYL15SykAcMGzWK1N8Kh7dt+XRT0wy3OsO76J8BHQp9trPk0j1lk0KznjGw8mXWmMKz7klFF/GcCSZFRVhv9PObJ5iS1pq35fxqmvy+l/cd6vC5FdizR1OurCx+wbpehcq4DLINSp/iIjJ8TsLmd0Lp3GuoBmBuCD2R8G/LIsC+eQYpKhdoyemOLg80JLUQXj9bdbr9QezBVRuhq47H5ARDgP1hV1fb2FjbNvvLOVyNjLfvwcNPQUVC6hBRF7Y/9MGMf2pmczQLtHwY68Glgkzl2bD02WaockuzSX/u2rkesXlWWoWEY7BuYsq9e0pJyHndExDUOHex4mpA6sWPz+IYCdcs9KBmqBDor9II+tAwubwFADBd9wnY2QN12slERRJSPBx2ecpr9n9HPia20VxvE/VIbjag0hEvRM8WSuNMGH9+P+3jeYtxGXaWX2o8VqJa9dnPtpTWQdGUgzhyGmzxSecSr1SrzO3wZP7VvcneouryY7m2JnD6S4v76exsc9wXHhP8TwIr9bkpnnu7aVh9VMSAyRzponvNJ1VgLuFVyGbK7fmP8kd316zcbBlx+NBDKqVc7BqW8fAcANq1T3PhqWG5JPqPrLfavoQvZ3JgCdOoulX2MfR9fe2e29LTMEhGsubLYMMjrMuKCge3NC55q7HRgL6Uh1M1gQfU9uObQYgHrhUlHGJAeA0qe0nbgfzIUg0UiTRaxd6zQVpoA02eohyH6BhqJR15h8VNfy3TfYn8I2KJCMdSSm1TQW33GNq0abx/Z1hNNNTvmvL4Dpa1jeSAnpuagiE1f7hLUgD8yTEM3mcBQ7oSs0dQ4Ppyn9ZzWuDDULb/8ryU21ou1PmnenRfcFZjDxDtPIf+2zmx64Uh+BI2E184wlu7f2WAYPFS9OYcWGVEjL3QcUxijWsVdsmFbMXmkzYKiEhJdqWRD/iv3jcZKxb6EfHdCBBmrTbHL0N9ni7YK+BDZmStvsXLF6HyszM+l2PU9yl0LcTJsoGr3Ma2Tfw8Xn62STzTGkDaDg+uyTZcc5xeNl10jaRNMpT1s9YVRZeRlbH7H3IABSiwTUm8OQJjpIQSnX08yn8tJy8ezgSoKL8qi9q8ccv1E1E6BBhF+ywMg4xdUMbj3/lPfJ8a90R5WpVfKFF3wOACTM9tr23uPWtKMAjcxT8OzZpLMU5LCpMCQzwdYOVN8JInrJy2SbPHjzdWd+ZXOPiX4wElwpNucKnMtJNUlsUucc7sbpyJ1EMRrifC/6vgug62JoI1XQuFJo7hsS7eJ+T3nleluHVdFmyyHIEvHEUdtMyA1ryFA4lTGDBs4sP0rSQnsjPbUDFYl6FBcChnoS3C0P3wLBqhXIjdLlHGqfuOQwihpC/JF2HQNrEC89LIF8vzINE/GC8SKmgnut0kYhjyya6w7i25nWoknA4YsiPyUm6W4urHlBXLV+lDRhzkmz4V6BfexxVw3bbXC6Znf00mep9DlFpl6gYma+RmwpLs/ti9zhFM6nHfaSH1WUj3fj+bHKI/23DhVOuQV/qbnQeUEzG2DFHOA3ef0CO2fn3yzewyYogAKqeMEYgGtGXtZ+rPn4s3cNom9N0SeejDaxJK1CST6y4BUTdrGleWSPwp4tSdmwQFZDn1OKQWxdi2M0fRtoNSwq4FFV0r8XQGIjM5HzXSFnB+0Nrba7tAMDDxF4ucf1G69e9po7mTtm7CLJbuiQJ7BmXvSAhCo9SneTuVBf5RhKxmBpEhiZrfZBWBsZHZ2+MQ7yuhFRPW/mVKag8uPReYxSZCmVv6MjAWEkjJeR13Cy/21WS2i08sWVo/Jsmchct3Vl0SYz/GEGIzE6z5H8i8TFGwjMYKk2uY+qDyO6L5Wgm2x8/Z6MldzqzaBmR/nQ54hwoif6tH6KZoF2NNrLZYE6ihMX7fQ7Ve8oyIQyYNYu9FSistdcHEftTYZ4Gudkg+0caS8p0/J1LpHcOPSLH8Ew1t4CuPuq8qbB3roPML3xx9bRyAhkVOpscY9IrH8ihssEpII55Dx0NwXJlYkZqlCgFtZHqU/Eoum9m6Zg4rIKh1cO5Y4s8IE8nYqS0YIthdClq5MPm6X+T2aL+lq4b2hgWwNdbWDvn//n1F9mtsFBaQebn9PixvdYLetM9UBBomUKVLrRqzpNrBrK4HnmHc/AkSp4PkhUmsjDALk53Gm2u8Og23KFCY+nqiICVH5eHHG0biu96bWQfBVjMs6UAMLQN8cp6Oa9wJQel0oUgJYgJ4rX4Dm4Ip90qw+uWMJhmjHa/aB1izhPkLqUa3wc6bH/1I2D0iX1GO2o25Bs99t/kJVNjTuZKjYbtBtSNorIddbuMuM+wq76eGIAbQcShpdcVjzDDQ+vg1B9FR1LLBFyj4E/5WvCmJYkq885oF6KvO6uL1TBEU/mxp9pCTZwzJHsjdWpdr7etgUJM9CfZ33m5MvFIuffLNERcaMPCxpE1PAynP3M7R+ohGlsb2/s4LEl4PDIG5EaKD/lQ6dIxFH1fknNlDQ15IwTz9L7JC00OfbUZz9N6RnAUaz5eCeasWaE5rtX4wR1s0ZdvKPdeWYLQcwPBx+9BRvW/X58LSHEeVfs5pLNGtrRMZ4sVq9+qv/Xc2jbZZ82GEUOAEnaq1YwxhLjpXfvp3gjWCs5j7oS08BIWuHhh/gjwtU0sKvMn+TYZzPmjldp/O6MDygXWrg0Sb8xmjy2G1iOeQD4QN0NhM19KmCzc8cl9aeghw1WiYMKwx6GsiO7Sxms2Ourogm4QFV2xfESgY+hIb+fPTg/irOCnQipDyhqOeAnFiiVq2G4jZYG0Uv4ST9OkO/+JyI/UVv6woADsOxDayL760ILvuk4hxrOlBob33PDMhhNpC7sHWbtTfiifocRCz0Whxpf5l4YV5TA/neQCwVVvGkfx/iaDhjtgTfirA26kRqXxJ4/EU1jCg84kml5+pvBXxNFK33HbHKI7wDbaaScgxQ3LJkpipY2xyZ7cqjTZEmUzldkbAO2hw9TuAM32n3V3oRjCN9DJS/aD0KSDMNgrKdAX1TSFBimuTgQZuoXPLtCmgYuPocd6Y512i9+trIKHCx9cavtehCFJ26Y0IyJHBbGAFyoq55+Pz9aBoUg+b9zm9rDPBNtGwVI06sfDZPIGrJTtWKRtB46uRxK8HOkLyoV4R+JFWJIMG/nen13yZwnQZN5Hb9xT6yuiZTdZW0h07gSSxgvKMX7NMWNSWklIea2h6c/SpZwIcKXyFSNwstVDgcI2gaMqzEt2qKPGzxxDAh+J3R5txO6f/s9ZS6r6RpNjcoJbsafYJJYGW+4ye2lak692BBnjoidtC16zvCQ9SV41AfE4XrBSmowSSTBJg0wwdf0h9rOOBQCz0f3uSY4AA6/mjyBJY9BH1VJdBFeGYzrJ8xkQEs10FjqzSODuURxq261Q+PoUX9dPiUl3u1v7DSgYfub6hrSAOCqZ9HtQmheXKn4uG6dB8fseATlOXM8v5xRKPXSNWFDMPzxw3ce5GwCMQ78faclvG2nYCunVMK8IGxajlJxMgFJMuoAjRJx48wxS6fwdb2wt9Kx1nDFoVTbqMIhqkJBxC+7EVJ3VLYZ2ptG8ciE6TQkA6Um2Pg3FPQVGlWNRuOBIfaZKXEcmNQPtsZNCO6mHDDLo70X0//ZcWUG6ZaGSF3V6n58VrCjOT/4w03XE7pV02gpyeOM3TV/DhxuGFhMGcysU6II2KbK4ilOcy8YgYxRdodaS9XHfRRC4+RapVSov91S5fcx+ePEMdB+2h9t9FscahFN49CUROvdFtRbeAlsGSbdXcbX/elwvwtaYPWVQTW5SmzJ9VfaVBglWs7s07wNt4wLfexUvzKW/VdhrZheHkU1RBMJIw9Vv54Yk0SmN1QBR7Op4+C+COB96X8S9ycxBJsoIQTY6tluGHNEmLwDTu9wEDvk5MpI04q9p76OoailmMlJo1MP28uhmatpgWoAdAb91GNdre+l/hmrSRN8UQrh1PAdm44PBllpiaQF72e0gZeiMQKNJSklvegSDdYaxouNLdB50qJ83Pg9EDBV+XaIH+WHygnXxWEFlAqIs3FOzf7vCNSrBeAfjxcoci4PDe5iMKpPpSPlRQhOT1bZzNvbqCBQYkmnXtfZIgjkrlQebHcdZSfNAdWtPZ6BPJi2pcAnttjHeQR6cGMdnF2B1PFVOOh48y8g8H3Z8BCATpjhVtrZZxee7azbTrQl/WUc6mJDe9QzIiuo03mZ4tuPUWe9dshBurggZoVMc4PK2Rtse/N78BfOK8KyjYtpajrm79VWmeG6WkP1qLZEbMmvwoWTwnrIwjIUs9cQzPnEnT834Ct2TYG8t5L+kKjOU+AtXaO4y9ok9IJSmg24vtLZkldiNTtFPeIIhvACtJr/oBNIUabRn+HZMcFaFiK+kxuAAC6pTplstM1r1kHk6+24ANBVGf4hKqm+cin2MHALxb22t+30HKJt+05X5UNPGbOeZkAsujaWFZtBVLsmL1DAC9DGo1qbYU4/MnHN+Ial+MpZpwHq7kBrn+9G2n3IKtyjQ6WPEQ8ceiTcRq21qeJKUs6xmEP3nEdPF+cpolHZlVZwj6aFIIRPxl++PTNOfDT8JiW8j7LFqcsXB2N27AsjBUxeH9Hr+wavp/kC1wmiOuUZUelmTQyQ1naofl4THEJY1Ky8wk/GI/xtRKNvpvVLmWV10FjkcqzxDWkpKewwvUsxj2K2R26Xrc7jj1t+/lo6LuJlPYlpkFk7GltTWdRHpQoMOJDmoXvawRWDVn07/BaJb/lub1D2HJh+RDRdUjI4OFFRBqJiuFeAho/UaJ2rxeqsgxqiYOKmwRICBTt5wYaAwNkYonRDIKmu7eLMnjzB7OrYBHzYvpfFluK9DMBD7PDpe/jt96i76nU+qE1KkDT6OTr6b7j9QJMhWj9zw7oD+XoEi+mOLIP4kbi710vj0Uat14Q5D/MkzxjuveaQmJ4ZMqUxR3FY7tqwjP9aUMlAwBxIPS5SJOYufg3BQEtlnBcEwuUJedhlmHdVUV+CtsyXjx/sCJWEubBEVAOEEIalUIaKvNYmF/szh5uNEKKrJHVLHr7b9CNd2cJXwuXoi9MzWzDVc0nrq0y6sL2kkO9Cw/Nuhp+s1HLACkcLnxIO0y1bIkf5tpeqH6/KOtNjC9vji5FFqJhB//Jr7ISqig58Cw2N0B2cOc7oharZyc/Ze+bc/2otxhG8YLg0lGS7hEDThUkrz1VuGLA4YQyQpvaVWb0lddylRlvze+10GMvkxBeyYNyF4PWmbuScOW+qi56K991S7v2BwJpFbxuIvpeNahOCYe3lggU/Asz9DMaaM7RrpyUnmoyysXe+t/mt00T6vI0iRt1H9skpxxDJHLlBPmwINcjnlqof4o1hNcU8FZCc5cLUnOzgs7fBb224lMBofurO+7Bo4qu61MF6YU1PCwb7q0UqQ1Tv7mYWeH5pioaivjStzc9I97nKDzjybuf373S+DTdNCgFUwJITE/K9ie7EOzagU/B2GbbM2pS8di3Casq/ovzr9pg6fg71kWf6+OclxNEn77Pie6uGD93FX75aHBrxRDkYsoVeecXcbj/WPtIyZ4Ndiu3K5o1EbB93eh8p1DtMUXPDQ48Sjtwfc79qNfNoAZvLkEFqaIX8DKcaHwYdKlHGZL+Hs1XooHRxyth4L6SENQlipKUx4GcD0/a5wYtMWljJ2IztMygBLLO+XJqXhLaGSH/MdMIO0F2Z1dfcz9jW8AxeWsbsZDlPHGFz4vfnNgieVpu+mwo6d5t4AHGACCboq5E2J5g3vu/5E/ogM7P00wz78dFD1EnEt72c2mdCC1KIrycZ46m/K0Wi1pq3VwI1B32VCFh8mQ9sz0iM4dHf9EC2t/JFoqgokDbTQucilB+4ZVs/Imk3I8rWQnFKUMqD8GZY4wamq10UbcCsv3llmX+2wk5ta2YqhnNJtVNkEKS2vcRAYEq1EMlNqTKj8W4W+utJ3x69aZTjYGmejhViRtCgUVcrJSRdZpkm9QykNtGyrxUYCJ8sGQSd45b6GDWpFgcwIbPTJAkcS1l4/lVd520HMcHBLuIbnWtD4KLMdV9o2VnlSs+UG48JLtfApmhIYsJ/QJHOZnnI7xpKbWzN+g2nTX/fm68YAxXM5zPnMN9ANSZ7bYLAHZxswW3ibak26FXSJLVa6PxicRPDhG4so6kIjDl493iTGHdGIQWE3Zo5T1a/kEd4Aj1/w+I+VTCsDR+HTawUCu9rsGj6/PWP4Gfv/jDb3INuwfAtcp8n4h6iiuOCejwOzrE8uM2d1hlqIf9xzF/5FAzAlzBYlJoZxLK2PZ/JJ8piw7F3AmieDlevhpJ207CtAU3TaS5heXgeJQr4vAiwveM4iB6lX+4AlQVI5gslPn3Sp5SwzSab1m2UiSUBva2QTCjPnwD7rMWuM9jRwummPN++EZ4s3gtUJUs1uj2jN+Da5oe+u3EaYoLtsGwgJ4bhyhqCWrIHKHX0R0cGPK4UnGol5Ys4rF7YSk7QMl0dHOjA1WMHt6Tdg8h7pZZIsGfd/Zrpjn4fFjCW5fjndXSyJ1eeJTMI79DkcjoiMluZhpNEBjbrt4jrxFa8pcrD1n7S9ac61bY/486frEWe+Gv58P/ZEtWIGCfN8LHbVU3PqFm6u6V9MkTrN6zD8Mv5tsyOm1w9oI0j240vRJiMj5VPptjOaF5PKOYlNkD/1fUkLCwblMWaAaFgJloEvGOkRCJsP2fXhCWO3HPreYzmiUaHT+1vzEoMsv9fll/Qe+EKn/z3nKiNKYw0LatTwBYKB6HWkEEVbcQAeuNjnon72ciU73WRgMtpk0TrjCh/8XYsky8JNcL7NkihsWvKMpirjmSD+4VplmyKlGsH6OH9XASnaLjU8EeO0XeLuN4qE/J+0GNp5yqWBUGvsAsiCNx166jdzNbWUyKUIxFBVkqTMhJY1S3pUHD/f5lSv0qxhkFveqqJ78HDwjcjk1W6uFklDnuRvn4wIRJWP8asZ3yxaH+7kL7uSMoTEBZSNHZIc78TRSRLkMlzDztdTNiAYdfcCO58qIplFP3upaXAR4dtRlXEunTLo83YdQ28lRKXWu+Ys16VgO2NhckbWPzYrmRYiULbqkwK0ttVNr84LdZeSr4J11K5dKeyVonRL1GRz0TSMzru8DyhhXgSZr0jZQSKnNt4ViBEefjy5F/f/vtpplGoyXhm4vZe4ViqSjqLm5gClsn5zaM33H/Y91Gkn8rvXmXT7V8s3g1BkaN+NxuvlH/9qI48HZ7izWbKPoblbx8MOEV/m29WYFp3enps6UnOfNdlg1rjT4lZKQ6MEoJXHwRYTd8QZeUwq9eTgH38VpwMk/kbgYfhSzmL8zeScL9ZGr2+90CoqnciaBSda9XjOZjp1ZDanV5txCEqF8fktEtIP3Pdq+NzR6Nb03NZWupmg5Gk16Qd2iFPkVxnE/La8tFQ7xTvb58QBPZ3dD5L/EYrJE35oNh6fLzS6/Qtds4UJ0+zLbNR6f0tfVvqbjtI283/RRj9uOtkQchxdjDbGSO9YxXpmJIEMpvhr4cY5b9KPRGsn4FXnZDRt8lfcWWg0qGB39+n680nnOMiLAm4LIuTK0dfc4/k7dtsG40WTKnCKSH4rYgBQFLr7psvVnlpZ8CZyZ1jpHZD2FYFtrFj9eMmaBwLCBE9otoOfQ4mjb6iYlCJU6UPkndHWv0BDD7xEje+1isR+dPBsSgOlirCpqrijnOCgvimmbW2Btsu58dvCJXEFnaFrdbslg0Om0n/S3d+L1yRdiMxZZ+aFB4cMXq6KJrQf72yRojDuaMlvEnsixo9hoA16MhE+6B9n3E8vRJsDEVtYCys7640SLWxfaDwaAn0WoZ4WUIo0ShZZqBER4X7qgjTkRye5+pojMRAPBkS2f2e+k1sNEdW1koPtGR3DuU1Kk2JF1pVoZMR/SpH4CkPqshQ9UcepvmqfeR93boEHaJy5E6lfJ2S8/CQ4d0+waO02CuD2EqQOTNalwlqd7D4iNQNj7pMzMs0TSHbH+pozLhUJ3EpslMDpNH56hJl4ZyyKQQi7eRaJKJnVOh6QpMzoc/hLx5b8WFKVYbMi/cFaB9xUvOpti9En51iuhdKJ7YAXGlblHyK/0UUuLI/b7wCZExlx9SMbJII5H/ojeG9jdfOdiFB9ExHr+5xcEYD8lYXKi6bj1f6UFE5FEzU/aeKaHaVSInp3e8nJYzY54JMw40oy0MznNqWVp38ielicvtgbyIy49s4piVBKjT+73+PA5rYXwvCFKWHFkZYIS7DAYXXnws8Ht08binsxt9n+yU/TO2mE6OGQi0qS/4K50L7c0lrqv99Ru6kWNLOrqO0tQWmvEH2k3vK+0XGnRIwvJ/xGwhDfMSIwRFt1sPp3spjAMZ/EsgaAEBC0Xb4Cx47P7A8gP/Z6PqxLE48gThXq7EQ0gfE67cL/ARLFqSceqwRd/yYqfoyhy8m+XzQHjWpWrdzKWp6x8TEzLmLHtquEGIr+fPNk3QNF17IQBaqZWXjgy+39Pw3+1jFwftMM6jd8KtqRWRaW3vGqfV0nOJwPIK3As810Ed7rwSsetTYmmbSZtmK81U4Q5XBuV5nO1D0ttGUPsy9pYinDyUIvaIiORmro/D4o4kW/5aAkEWUqblFLHUhtcyNruze3VLRFmL7iSfBz0QA2onPHg9zh1cmVfZkLi5F4BCyVOL9xIFKpuCF+j2roIVAhurARH/CGAHqHMf/DfsSRWjKblsTlZTWKYnfqgwk3mjQfCNiqdmdXrdZ+K2BryAGJeje4b5tIcXbrElBQgC+5KLciLouw3lrwcEXXlfgJ+roJbbK1k2b0AoXFeoxmOKAd7JM4bSpGMbr17B/O3NOiis/w2OrN/YSopQS8C+maUyO7ZaqUsiTeVK/pmH0NOQo5PeKiQV9I9ZuhmhLkuow4R49W9cM1+5qT7LHcx0CEQX4tKtU+cznf5qZWVMEPePuvIpIX+nGL6KLF4wJZ+h7JW5SFH/tQ/6Qq+QeiuiE9DiE0NQwlsoEkBl9xxtSktZXXBXmnc+ITwx2ONjdw5ZaWwoA+4AHOZV9grqPWeJ96UNYO+WF3fPSC8/XUfef7fIBgis9Ck9y4su6r+zg+ZqtXt1TO2STVQvLrrqCG1PjYS5pzoiNSnJUMIHx3hwu45NX+BPcJUsKGb1lbmHnkZBcnJ42nXJS1Sjj170GaDO8QoLOKlobqNmwWvfkf9QSg4wXeWE4vs5HComD4Se6V49/2jQ4+vTpEtSvMT9uzgZAS4VpRQGoqWaRk2YfqnoQ6Ru+pEd8GDZWWoYKbx1wV4DbyTkQ9iXIUEy1Bg/WA8SOP121ZQkB3p/VdNFLLBfzRQxdHRNE8m0UD7Mn+W4yG5O1gHrqo9BZmKH61827rwV5wGGNuhWFK9x7f1yB017dSCux3h1GmD+TjdBARI6P4EzrakjriN2VoFlhdS43IJrEJvovmtQPd02VC4w72wJViYvV2cTzYdq3bGQZvObj7h1OCJfbWSq2YJlUYmYQosmAEHMAxLquYieRL+yHH7NZ1YiEg7ZnRK8yy/myHIEfxHV7ViJZEdQ+evBDh6blVpzt+8zRovvVQ6LLRuU8+2GIpUErJwk4BQV0DJXZboeD9MkEnGOoyUm6f4HyQrXAqyzDcr/DPCx3BERIxtk0Xd41lqmbT8RE4PJ/tWjdGxmvGQBwwJLMWqG/iXpzKjU3QJ63kzHpyhu8GAipZGctvjEBYtOdoVOrSFJgljdtzhNhek5dE5aeMhawVGqG1yC+I6kw6GyQYwWX3HUNKsQSCRtmRZ8SWBMy33gIn/TD6TJRaf60LpRsqdT6jLbSntt++AAGdQieJZxyCb9gDYMQeRfvyyjOHAJpO01AH3KbvQD1CSFFZ4CukhlTDKacXcFjBe1MxLMFPjNbucQac0/JRU720AS9AgIAdoIrHX6hxVBntQO1L0ePg6vEUI0SzArq64C480v+V+7qOfp9AAyG5KXhvqI+SrcPGzOVDSf/cRge/5l7fkIBOtmD7G28QTbfFZ+SN4xx7UY92t8S88eiPHIGJmqxS5dbx2mCndvi6/B65c6QvaZwTUbfyuZjL4jPCQm4/Vxt1ldl3IZWoXFLr0KH2Z1Oh2QKUjlF8lC449vgzy8yxwmKOhHr1yM4d9ax5dK9HATqC5jBXJjBQOORGuxFiZ8mPRgb+MErqxRB/ixlzQ7NZNnfPXv+Mtw6zdFtGftLMlWffH/yftO816OlC5r++nLhAojshoKy2evi0IhxHtZEA55ubuJq+q8qElpQp5FRc7FOL14UtISsZ81rmqVY+K0kkFi3bJs9P7tPzU2TVC3IWu9FvCD7Nz0XNcGB5Q4gH2wF7hNnScsCGjCCFgA6IsKfrEdNFQ3b0p+YI4RdOzEDG1u/7G8f/6LDWsrgguSK3alFW76NqjBjWr9t0FoUQhs8XsznS4QNSpMBlM2LKN7PWRXko//y8uw1YdEKG9arcPvA3sWHzw+EMqj1v4aRcderL2HxuXDAWbw9x701F60ATcH6PJNQfta1bkL07zlOQTmSrdcADFRgiCJ04e8TsSpR0MYbNKVEGmAZoBHXPolCQHSPK0ZBVvKdPU3YossKajgvJLLapQV+e3xtSev6xKtUyOcDm4t1Suxv15yxQFF5Nd7Ha5Jq2NbsFniZtn1LjLRib6sD0cXGt9SjqK9W4e+cjYppzB755ApP/X/1HVa06fzc+ft9GzT/iPrK/LK6biTqbrPbOd63ydlRoodeVBc8mg4LWWY6I1f/pwoWswGRD6mXSBFyjW2/aJ/BRHv649Vx1l237HvIYFSil1nUjWoZrv8fl0fZbQU4totPA3kc24K7ghnJpSiChf87Z5lk4o07tX2BuiErBSLeYrulN7r0xKiRpwejVWiXIxpvi4HUlOvPxJzAxoIWAi6Khfs5JMjn+d0P/8vnpzNTgMOR0/55ViSK9CotPs9hPViGSSgEuflJuqBdbCKkN38luKPKwMHAtf7Ozqhp92Wjgy3xddWQ2ntpn+SyegLl66hlpMBy1vd93Tq4pbhxttdY5xKgCNsRMG8HPaC6QG7UjZcgmvlRlzZdDByeVWuUFXFhTQU9TVbVvk+a/pgGq3U+hjPgpy+V/KoXdrifVuvGxumRR+nxWJ/7fx8aEaggXnau7ZlYYVRsOsdbBqd9bHuGff0EVP/jy+mBezEIM5anChpVCR2I80Q7y3n8bLRh4tsuo55m8bBOPIwMx/9XvJAjjKycbKciOkPBGgMbmceU/HqCHzlhD6kugd2Vc1NkEeAD3zrR6tbKdO/zfmQ/vHV/lN4Tb1lmXgjbZf0tSiRr8FuJexxiyslqDhhiXhye9HLElIasBrEwE3qqwnreU93IeIwHQ7uO9ZsrS+QL+NwsK/qRFue4MrOMTaWDfDh0J3Sz+6vPvrmjNrQyzMp1t0hqD9Os0gZcLEVYHpCs4tUIrK7ssevm6fEmacW7W4F4bfi1pK48Uj65RNYoM77Gi8MS4eqgjPf0GjeG+1TXnATeQK+L4klEwtRRKkAiEJX0g5GP+FLFTrz/wWVE7yk4mprSnerGIFnk/xNF5+fXOygNXjMgClApq+2YaqzGklr7XkOdO0HM8z5c61w1bSbYGsvS6Hy4ix6gx1u7oIp4u2VODOpPoPFF5U0zx95v0pLDH5aH3BRfmVLmf5HKQ7SUOlm4WoB46mfhhMll+sAmJNBsfEe2co3CPwKf2w9gw86bZS5L47SLsWlFwZv/0e0rTRQYnkxNCpUEwNyy/brptjEpqsezD8oBuyhq3kkG4l01FuvfZv6DdDoj60IOZo8S5vH8H3RigOEcYBffTIWXFNbmgORPf/YW7QukU0Z33bG7KrXpBqZfxGqmU/KzFguSugKI9tK5rZL2UTo6kC5wlmGvE1bEdj2ZUzhnUB+jxbqk+eX8xlacD4cJZa9IMF/rV6Rd3gUXQ3QcEB7TlH08UbPxJwmZ7CImfQWLIy4vRL5QmIASw3VHg+/KrFcgadkX2SIerGFG6JNCHWqSRdw7hc8AgJBMXhuqhh9q/ySJMpHfLiYKM207Voal/QtpV3I9ym1vnYtGoUNIvOpozuKsL2aRS3jG6luk4SkMMInvszJpgOtQu7kqY1+7gGFC5k0LsT/QLuixesGao/k/0iWr+oT93o9LaAZzQk5PZiwssFPdiregf1lBuM6BRF4+ZG9tuEpJlL8Q+4ctnr9yJ3f9LMqe1rkcRxWUTDTT90Y5/RcOmb6ktsM6prnTr3CIQaLDK2gapojnqNbsdISCK14LfDqP4I68g1yHgK9WDpNcmpZElQ1ZsnyYXY+vPJCmReqtjqBxtr+rshtu8bhZhW0jsI85c6XbijkwgjcDmuAJiDsT2Ft5K/MkQ2qenIt5AG8yRzIjLYacNVuzbrvz9kKMltKbt0KbocdUz4yd1bfqX1w1XLWvQN1gjvV3k4YSOjUnWRlUKFjR851wDI0BjAGs/5lUJAHStTbZ1hFztymtvdScIthwymouTPb8isrHWHseisOUjyIVu7r5swXV7NGyw+DgoHtS0Nya+/3LStwoSa8E0OYUsi+T23jxNWCnqTDcPeGX3rVxhAZTYVEnEKaJZt8lU/3bbk6sYbUvhczHj9h2D1ckfM8B4FWZMzvl9ctaxE4HKAzeE+htcaMYSaExYSz55s1BBBUzaIBNhhiNX0tF1OIUm0Gc2mvRDteyyTBY1nMLbawnQDdjwZPmt6NCYIf2sD0kNceJn69q6tk0RdFi+vvX45L8a5rVSA8UiJrgFiJC4MEgUg0bpPOlWNxbzXRuHYe26S55YvXImRbwARVtpcNkIQwq6A/ebYmZpOlYoBnq2K9kY4fPd9tBUSJX6sSujrRaBBe+7B/n56K/g92OjcE7DgiYe5WfG5iQcUVmViwpon4XdhEjKyQNA3qRg+WldY/U4crAKlwMuM+TJGziWWjRGKOlLAJfVneIuPVnLGnE0nzRTgtN32bhYIKcbkkxkKd52aRtOA/CsIfuHHEBQJ0V2mR8tZRSCgbxqGMy4JBwMVIDxjbvilKGquoGDO3YMTIZw6wIwMg6XwGAMg6K1+XbhIPdBPsfkM/KBqu71ADgmg8280LNhdw5idKfjnYEbZBdcT3YVvZlxWDU8ymNoQp9Qjn3tF9afDgo9NKIRsrTKkJXRkEIeM/Sz2jNC/V1JpJd7tuF04cNEeY9OpYMREyi8XpzyYKL75r4iErE0Fn+6ELZ1tnP5N84tMcxz5m7igemUZP2SLyFOPvD2LJOP+g0DIsINBxWIRb8hVRXmbY8RZgcnukCdlIfrP90f5X2w4g1wZLWAEZj/QjC9lC0ft9Nf3I7CSizSfF8Rdf8+e457GoZRxjm2z/WE7u/7cPOXpTeNFSd7la6jFYWboxADaJyg17RUlzkzbg1X6mix/JEqIS47xPMejVOtZ9DwyzdKRWI/0CvIEdm0CEtyuvFBGyEclCtDt80Ju3rOQdhL2BVMEDfrU2Ivz4gZXuT2sCuncVJ0S6m4Xzbgv2RvNChhuwf4QjsC9h50hTrGq2TN6xQ140xrCKEzvCdv9crYqk4yaZ9kRT6Do2viicHhpR/5J2VaduxbgcEkEGalBuE6rGJQr1gECI//s6ek+skwZnL+I4xUAhtqKLaP1ZfhQuCFyvWpt7beciFpVClK3yXBZHyiFzUzUIkhH9N0MxrcE+P5y5gdJADtSfbyJ1WC1UueEE9207YCK5lsDJjSOXQOtS9qgpZMZd+aaOuEWGvIqhWaWmUlFjYtAZ5xlDE27Apymvi6Yug0sQ7OuX8wucIawSHE5GQ1SLYuxxL3/3lnOskFiRqw0RBL096Yl9YptyxeL0WysaqrnEPnvUPm/RWjhBKAR4FWVQ8efNSy9ILfsZuZ4G3djU3Th3o5viIO6bKyWbwOFBoR/IxcHytMKD7OPKKGzRQHoR/crQ+OdiIX9IaEkV+AWaLHTpRlMG4kVzI04gJv73meBm3zv6VBkWf1APEm9jAVEN5irhaaRYsHZHb0otgVaRBp2LEvnJqc9q4CM8bR4uduNemhh4z3h8KJKd1v5SOG1XY8Q/lPr7jtTAakXGpJaCX0QfOqIhOVyDqOGLGCNlb3rhB4n44diIqyaB0Pwq505wBvxlKU+UNGm60UkySkEF5z2Jvaog8RYABGwk706OYBwGizPZ72mehpZLV0p1iEiKEg8A9HZLy7P2uWaBhVVdTypyZgCfmq9UHr+U+euzbBJyFO6r7FX9453+p/OsBls8GPwJ0zF4IKiwj9h0CDc+7H5713/uJ5OkqjOS/ghQYt57Dkt+akTjG1xlD46n9Lcw9yZZ89BEgwYNNscmjA4yF+lkCGImCuzhxip7Xu6RRLXtddRvoZ3kCbFKEZ04RBns9AV2mWjb9XBrR3gfq7YIzYFgBwJjfiRkHqCJQYYgUdP/kyVGi7CdFUlFr41QM35ZV1tJxMq20gpsOzmwkFwvCLV49xmpbLRuO5tAuSm5OAaUkBSqEa+7EXulgumqXKipDLSHKDDUlxoiGTwp84BQ3Lvo3n6tlK7NX9tcPyocrlbk9AEgnI+MPRYB2Ewu0TBnso/ZPG2QBvBgiF/fPcH78PfEFTuleQ9/kf2eN0iY+McFuJqddYNZtbaaPI03WQ47ZYLhkF9FlR8TPeTZQFif5SrSLyv2fpLqBJPa73Z3HopayGJcy3SOCXMwHwD8x8ANx34Y2tHR8NJF/XEwaKlKA5dmNlx5mGIqHwhQibd8DS4WMBbC+pVmzYlty6S0cyGdhR1xxENSnsJ5okohdrsAMsOubCxb7Z0rPgqyvcsTyMiJyIN0xFdLbh5Y3f9XMszDHPpgVC53JwGBH8UMYvjUeysy/DnediQ+jdnOagjRpF6mXnpzuoiwdry/ets8TBBKA8H/O6pfujBlYbBiAGVwrICvDZUl2C0/4hxGHGN+WV4UUJshX6QnMccjx45A3n+rawZpWK04snSQjly1Niqvm14HwDpy4WEbpPKdxPl+nvGgf9c2oO1PKvkfqEN/uhVeAcaqJZx7Y8992x7Ob3xonjtTYFEQ43CGWAuiM2QhE3gkNCHEhK5VzGv9bFuenIhnFOAZrL8wb+Ahy6ZSt5am4cpzrS/W2K284xsJc+1jIXjS1SVOXMo8FuRY7zZSmaVoUoSyI/rGoXkyJmB3F20c52MTW/adCaapRXxWH8jgr+26TfKonLnjL5OFl7WWBdoc+hwcAV4Nl4xjC9Yhz3jlalWswAfONqxZOkOR6zDGEPvN2VR2nSi8uJCP4gyQpVcNSkruuVQwO/YaNbq77y4c8tA00LY0Wnmns+0ASvUc0T9CQkRclut1wb2IRF4ez5se1cXmnjM8+Vw7Hsx/u+weNbJVA+Xwg3s8JiHa1AG/xC+WRrCVpEArW1huh/I9LZuvRfwnWQ9FYjPTI08JtK7ceox1F5ag2+oT8Lfapw2tONI4ixh6G28a9USdqELZVXrntEGEeEQwiMBPjZRxrUePnqDW+1uN5H3tlzdKXKCX+UD4/0/AEC8EUWyQKIIl6zOpPGbJeNyHJ76xFkBrvs4artI++2cYR7SqGhdOBXlIpy+8rYIho/Esv50YEOyA5fGpzwlC+rFLDQkNWSfkP46FPsk1/+HhaK896ocsFJKTeMoQyjN+2wTSOyBipLKocJPEZGC7Zt03zWpEM/0nnqE1dMF9ZPvXa4c1/+o5HI9eHRc24IgWr2d0vB2q+CIjzsVnyPqulmUPQ7PxOwoQ0agsjkBkyq655iWmK+RLCURTuwqiH2XKjEFDXg+hjPl2lWDjwnpkZ2R5BS2hyr3X8x45RRDYeAEJlF8I989T6rJw5a5V36C5SzbWhHCkeTjowVlb1LXtrz+TXennjZZ/lYB408dP1Hm5porC4orTzGc/A0hK5gF0wcye8HLURbxC/BGXZfEvaJZ8Wo6bFUG3TBhOx6pE1YqMwbUUeaOGvmH3NTjQgF1P+oTRSGWOT7zRq20ygJjFhA2WkO45XBwYcz2HwOlvLSvxycgz0LhQYsdwQHgsOFAGVG84LreHsXgTeXSo7wXb20qteGCi/o4pyRAJwVm7hR4ELr8EHD1DnFwB2HGbcOnFTSZWzOSQLtGYs1CDhtwnUP9Zljo46Q0Fwe1SBbhkZpt4eHfxu9iDWUbNUrbvzAcNsVdgSfaxIDw0tYEBpnhbU0S+qrQjGNbZJvc8YqSNpPyhDEUQsD8zV9lOJnqS5GpS/H+d1h5GIQohkU9F6i8Bpi8nZp1DV/RgaykSWypt/S8xcGnUgoPaUnJijZVT9IpAOIO7k0wmRaCaqQJky5s7P4Y0CErJmeS2QZmErsW/VOr+Kq/jPiER9M7pQmNMne8C8h94pEtmvPtnGL1FN1mAX+Em0y9BMCkmZAPRtKHmFrRhpN+vzjgPcnnp8omZ9niYPhokjcwTv28CxWFCy1NuyeCgG9O9a5s6SkuMzsoDVYKFfrFk1+u22B8LXa/J36n2F+q+VKSHLy6y/tzsecvFRpljdljbZ9jOYDXtLlO/+9mZ3wlVY2xrWdeJpgEuqULEDyxnGErGb/A/TPx6woNEtwmtBxM6m1Uwf7kN9rmnCCLE8dq89j0OM0oBOZPtVMHuO7jQXyUWMmo/S2iPLMp0sbZ6lgqCsjF6XkCQyokHaoaTsU1YR1f30z5s5h3rLq082bsHguwXRZRe4v6jYq4ZSPJnHBClbScVuIi/aPOR4G9THd34OaYC2DCHRdNBML9Vj7KKT/KiLH9NvuWxW1u10Aq6h7KQHveuiUo+o0SOWqJz9ELcxlCQIb/dgxgeRXKKccX40vytO2Vc1JRyL86Y+hpsI3jp5//hgzpsl951lOZ/bH5ADptxwBwimCn9oEcfeH/kqWcs+JBfTfZb8uhWdgQ9uPEo8bGSKazgO2+kCNB6jwsrLcBHYRPgalB2cU0mHunCMbBricB8PiOyptRpE5FnatsDfGg/dYwTDVrK+rRLu5Iv+oSdGdgmVvXZ7pHu8QcXW/UcHc1RENTh8wAn/MRF19POghtDKW/vaiCCnjYL3PlUsUj4NOoPrzlomPlNn210HXr+KTMBRWoPgQ5GjJpoDN7985iglZfZChHVmdUCbXYzJmW3qiZvFl+KPdelsSH0LTMIL/uHVlyxI0gHMlDqX1OIxp6bRy/NFwfkKYAEckUBLg9oPXXmwl7vLtCbWtRm+hWcoNWVHK2BAArj2+J3D6TbaKs3tW1fudZNpjO3JRSUAncu0PNFqK3HMQDPV9OmPsp4nhE6XDyOp6YGIB272ASxDiz5U7frlIXzW540gc3fblqYp5RrMuhCUyvU5TXMlXtWJiQWHG1OA0bK1vjkgfOA4aDnkiUb0fJHrFU7mF0Q19tBQMYASefJ3ciU4LviiZo1mEXm38nCROlW5PMmIVICz2HXGpKwoseeQST55JPGMv9XPQfkesU54CsJsw+tCCZoRfVA48Xg6SrULlwixLGQau53yaw/+SIx7ovNNnLZxMSCrpyCi/xRgSVP/sCwlmnQBTHJI89Lx+Xf3L8gn+5811mZQ5sJs8yZeZbI1dXnGdzl/gwwa1KIgWgINCjFMcG0Jh1WZfiICsMkYag3fp1iqzDkGe/bpn/9A5CVqTmNg8YzeuqrytaxDw4zhqoujNcDB5tBKOG8ZUCnA1RrGJRqDQpLL5rCCHkSx6ILs1xvsJUDD5QvztGXwb3lvPjfA9RMz/JSs9WzWxpr0RXWoFrZ+HSzdqYm5q6Z3trsVrvZ+tVrtvcjeXzc8bKL+f4I1sp+FiPZrD7UvzRPwSevOzsXHpTmusYmXTCZd330vIxTtxrEzK306fPkGzBfeDL7CvWSKVogpYS0y0fhG+7UpjvGEe2H/CXMlelFqkB+09fYHncxHkJCMpeUrtol7G06QrgxVdAxi3izW3+S+O4kaVKCuPN2B7+u9Ol5A3XuhH442ZT6VrD3WKLXx5EXGubYWP7kiaAYEyGyN6QCR/fuuFTJHvcrQHhBAkrL5espm+lAY82irseFAnTaBGhkMCgASm/wMwVaHOijQRjlbYk1dIK36+i0/zlfYV5pwkOBUu/+EvfRyHpl+U29thv0SFNTgofZk6EiMnHpfD78tIgFU8VufAb3cq9w3avLuBdFXkqin3CXzXLXCmbBprY/oBYehC21UkgFb82T4oawXXgNOP130MZ8tXuWvo8SZfG2bQ+zQcn9SUHfAXV2rybx2r1awMzBDyRylfFWoK5TDdKvzA9ntTYxUUP/r5MLhMrcPzT05Ghn2a9/vMbcmdqhjeVB8OzwtmlmrFXqimEFt+qvc9tFFGE5+IfgHpRmRVutLO+86p+gFTIEWG4ar5lnAZYZEC7D/yDYj2BtYM8L6mkmLP7/v12xko/De5MLegCFXH0xvcLvjFctzKmrFgcY8lFuDq+WJjh4z11TpS3elAv7sihS8QIUnISUPyKhkqke3yxA8BoxrxSX2KTHWmf3sRDSDEGeDoe8hLKYZLkz6JwKUUuflhHScUhWzfcY87CoJPi/P0Ufeuk9YSEqkCesXR5r/PG0JKLhpZb7pNydS9XFJnokm7DJvKvxUqiWltEeqDmEtosXZ9zZbcLluZKum6i3EBs6WWg5gs4FJJqIchwb6Hnwn6zjC0sp84UnPvFl2sxP3aWUTpewZhkv4s+9QI/l3Xuj3vC63Hc6wPjfzTgCEAZOf/w+uY1bw4CQVHDYzR/JZKPY/LNzrmP+PnDJXAIFup1xMTUbqbTNGFvhZfiIYGN0InbVb/fQ0il7LCMziJ/3KsL1zmbs+SCZhBXw5kIbbSLujSuHpGovnuIgaFM2l4nASYc0f/uHmo9135MCGRm3fIlFnm15PCfjPeYMV8tdnw5cjIqbLrQj3E6Gl5Ww122vj1bHjh59M2oRCL6hMqAIFMx6TW7er6SFz5fsbn57ipj6TY5WPGeRCb348EtY2kqeXLeD43N0r8os7sS00NxenGNdbSDwy4SrGqdKp6g6wst6MhaB25vrfJdvkiKSB1fUwkKb6hBl2JDU322Pi63V1g/8aJNw6Bu2w+E6YNWkgjS24qbN2oHRd2ld0KVyYLuknRW/+uUjf10gR2nvMRR47c0WCQ+EPj+Ljtl+Fbw8LyJ+GZqFzPQPj1HaERoTskcEgs2ox2+YE/svgUjv6+ij83EFSuWeVhfWKxuz2iA159/SQ7eEVOYxwltm9iuvJ5ERX9IgE5q1+nNi02IBigxBRrbSl8oE5iC5m711HiUVfYl3spu5BEE7wlRydXB5CmNRU9+Qd49HAWMqkPNdxnr6ZhGW6rUbqn0PqTHC8UbGOvyasGXoVWSottDGHsUrVUji2AzUv0pe/Nkq6nRE9M05v51CuhqcgFpvLFMX7Vu7uYbRhdBIOq4joM4ag5nnmPUJvvQVk0mZdnhB/nGsZZnCkURKasLvvUZSutj+8xCd+PxrFAbxtFxjmGVrmndSTVtL+Vb6Np8qsWrCte0M+7FQ5JuQo8wRGikMaAqqktbw+s/3HxncVqrDInZMJRYzXyoPJf6+d92b0PLrujboaCH3oxstAvJYlJgMyiQXPXuVaJ33tCdMZoip+pSt7uSHOajVV2R7PSmXdWhJwifhLSZ3ecGGrLyfHpyuEEhk/6upuFnETKLkXmaWDP7E3udf2zJZhOOpPbXETj1CGmFaNReUPB0encTaoPws1DRYTf9CCtWnjKImWAPFNSfWsajKaqkelrOFUV/8C0M+ZIvAhHYVGL3EqqjnCj1TLGpkws32jfhT7OHGXN6OWe34UaY2D92UsNcwfEEl7ppjLKocUbEMHP5rAf04fx8BAMF76AgmjFuKIPwco/g8fuODxSwd1SV/L6I+2uWGux2U+9s827RVCNfgqMw/XmLtxy1Usd45vAqtdgwpy8PB97sezy7lAUmGcJEu3ZfxR8dohLsEknOwnQWJJE//u2U1HB/0mKAx8WGqldoAubQSBwc2gN4+GrL/60QraQ21zrkU0QPQVR50Pkl37ES8U4VVangi2mkn/tnZZ27fwuxQ1Inw9Xr27MrAOwJ/bcHsUkE7Q/1NaVDp7NBFTmzKqo83Mr5H5BY44FG9yJi2BhlFZcvxVT2gtyK0ZqB3e/9ipHpj4F3cD2+0CM0NzSfuMMcLcnphyh6ldaVr6Q2yhXP2dpxj/j1IRTnkOWzH3dj/pTDeehlqw3uXdpWC7KD75FxakTJ1yWxJJ6wSVQtvsVAtF6Cgw+6wqQ5md4ZTmf+fSKf5EoQO68Fka3IdiFP/1NwGYsNbucI9GUB0qJaN4ug/JWBWLHPhaS4yNwqPPaoZfoJMxCPNlHgcPcMaaqkhgZ3jXfRO3wNbv6Ng7X135PLkGszGmCpEtTGRPprljRaH7a0cdxLlZxOOUpU7lwF1XKHusdcUmHztqp5Ba/bz51ghzPaEmfc/6vjCnbushxhAHmP6xxFr66iwj5c0WbW4FGlbqgTGXla1F+UI+NmJtqN4sIcsoyCc0I3/j+9ZHqKYUxkfRzar4gLONEFl76s56F9PDdTy92mLVbXdylnotfMZOKObyAm+WkIKm0EuVO5nrFh2LVlf4pu/J93YzWwkIr2Mxliu/GbgC8goRfNM8B9uAdBwoLIO0+5lkYD2BitqKx7/3Id6Htlx90zfsvSCTSzRek/EIqWWoH48Z3WYYnCdOOil7yaNuQlCvKuAUBWbov5bMSftug7OTGuZ0ypL6iCdPugGdd/dLX9dNG2RaPXMT4Hck+LAzMywqjzyBYD7P7pvlO7vfFl/qok2yRrvNQCcBxpwnp9OrdjeaYbb4rJmz8CaLOv8z37dKsMY4qViS++3DR2Tiy6lMCTnHpZ+fIMHxPDWUjEtoCyAkSrmA8bZ5t+sp8DmcCIV7EZjWGrtBXKbYFhUUJtIU1qcx7P6S+NpsVGkb3U5+ZESLlcuobqLfBSL/fxXkYh3AhT98DrltrNXUm5f+Zm93Zxy0FEQuNP/2GLLOOZDDTZHkPI/KHPQllx0y08WaNVS5ij/MyxmnK/LGXJyyFoOQMHixOp2GJogBr41aoaGPd1DxBbsroMAFlVCORN5rbeN2uks0Re1SRq1OjQ4vt1nT7X4EfxcsGh0IFCw1sFMLTbczwB1Y6wE4qyAnmP8NR4f0k+f4x0kLL/+MXG8UR8KDQJ940vMzezEbp3QQQXiBbQ0cu+dz3bmwnP4AlBUozUQSViNWsSpyLNrieS6q4/ijt/yM8zxGiqIzaLqXSKzt7M/P6gNBKdkRG9gk4fXwozXeog5DaRLtytLxnul8Ueb1qLHUZ0E5bAMMEj+gFdNzbXUwT7eXJP4hPRncAxHBjUyuJiD4w3oR2YJqHqo5MQhQ7gc8pNZy2pAXsXcltfpP8yoyAZc7hfan97KJsmH7fCXkp8oERaU2vrzzo8vWcJ2OVd4iDxsYuYz/Kd8H2ywmjT3ZFgI6ImfEeXoZ1LaZTZJ9Wh8jDY/sb5BCRUr8bS5kGIxUIQWBcoS3WK/1GzKbqb8VOX/wXq7cmn4J/EXa2C1O2ltv9KSp04YIlxYbib1apcz95THN98wq+/NAkXfR/Zn/Qk4vjIsdKBpsf7gC3W68/n10sxyzmqukwaLmZHykwkVahHR792EVLN0ZZ8tGpyJISQhUZxqTyMOzTtCLrkae9gKrtJOjGja2gmkp7JgxkrVUPNvwwT8G+ozKpRi4DA7s5Cy5fCFR/bnpt9zTdYHOFWxsS1o3KgS/njYjgRsg9Q/nHMCB0ZbtQFAesZRcp1ZFtSvubfAVg2lb935hEzPYgNxE1p6pGB1/I8i+k4YZ5yp24fcpSUu/cWpzr39pMJdioBFCEtHDEEaEE5QE9rp1IVFWavTSyJkQ6HROFcOialzfgh6R045SxNT2eX9W1y6GQ9HeDsz3AZqX/C59Ir/xzWjYWy1pq/vSNAaQ84eW5epcVFtznKZsu/UNE/9K/qC4M7Pd33jB5NbKO6i8JoJMj/3zX/WDDYTsM3AnLfrUKp3fSdWwLDDXnmSqpBT2BwwdUfwSVI2E9xQpoWpEpKkIs8M6tDv20rZ0ypkNofwWLVHGkT7eAVIVq6h1u4ER/3BnrRgTGU/F3BZaylJIN7fLRI3TL14tBg5HLhwWtH/gTZiYwdDGMXbMcslKBx61T+ZKTvpDMHjfv5Xqmn4Rnf+0yggiMhJhYeEZgvjiHLuufn1U68Pq8aDQWj5nnES7lr77PCZy50GF8zDBqW1hxwHuYcYPY/WlwVPdIhS6IiezsG0p9ZVYaH0gfpgJIanQMCXfVzbxP8GZqTBRnMvqHuNcNLC3ufF0QI8kiYwxRfapFBuA6XzaJITujzYidr4vZxVBZMpxRVbefjJGOuDkXM+RFb9k2i6Y8t51zcrqzUmO2wUiY4t4ZSmN2nKBgy6itUg64tBUEkzi9n/WtFSxBPKA3uLUZYp9PKu1YHAKr9VlJAbCHWPueSwrl6c6jYy9KsLpb6LobzWbyooqSJa1z27SUptSCFlhQA36g3Eym8y1jBEkooglgX+A3A7VhLSLJ+laNXUbdS5OkXpkqYzXcrqVjDIHJQvJeEObXqkqNY6C2IGq6APfUDihik/yjndkJIKOwNhEvA7hUlLkT4YphFEFseBQ1EqGbZKvTKggXkpwWtFUjmHnjpVTVy/7Vyn6rMFmAY/O3hQbw4bL9HzPYmXQuIUXzeenm7L6SA1Ia4bV3cTt6JGevVDb+oRxV+adLVpEhGD0FW82HpmR3tDTeuuTiiicagpnHAAtZUg1YU7bRTJbCjvGyAPb8xQMd9bvoZqdqZOasYwhLV8kL5TBekQiJ1TLrFAFw4QznICkW8nRpd4YZiPK3JXfdZr+QTIzeL4yqrrWbuQrErdwBaulrbhpgHRxcGXfd8Az97jGJMxUSD3YvvIANpHwPXw1NSggH+9zqjzUz9KRZnH2LU2cXCHpv/f+yLHqNWDf8UeyNu8mnK8PX7j1rOXQlu+RrUzzyeknaoLAwkVJZ3oHxiBmVj1ODu3heUejtAOTT4+6Vt/u7nOrRQHcpcrhXECYZBloXYFODO20QGLgPQIGTgb3qp2E9wk/LCosT0Uj2AsXIKa+LIiUGfMO3Ujp3ffrWZY2zBv6Hl0TCu3rJ1L64yqki2PbHzw3c4adT5vZg+X9QQk6FPKemgJxlpkENVdfwDoL5ksMv9zIkOfYSR6UnHhtbYlYxeCTgJ33lEthSLLQcjXvHDP4ngDyKl8VEzWov8fzFs+cNM3ZhVySQAuWTTcU5oYmH1NS+ysgeUTx3xgXDF50/TMGCtacfMb7G9JKJbGXUzEHwPD1bznj9UHk7F3Z0RX7DubEpqSZAPCZTkDW2dlHrVEKB+X4Ze+6yhSC0J8qSFlAFCCHgKBCeOeRhGcZadbbbTP1ra6kogBXQG+W6yfWhQiKzcz3FxWkzPuGpRSX6fY0u/KjDzWKwx2hjDelgQ5TVpcNtqZK9iJ0kj9xRih0nXXcf2yDUIzLnorNldYY976vwT+xd0kr/NGPlKRJgcBVFwmY3OjGUs6u2Zi54c9DEJ1hmOr3A6n4IUZo0n1DZw6RKpoj7zTEdJWRKBHU+ODgaK23ubK6+IaLWdPdiGj6ClaK1sZB2p+dnbglqVH/4pLJOf7wjT94cyUzWde1hrA0v+bhjBQ+yH5UZrPdC9tONwxbpYfYxThWGuq8BZCzANRTCS803/JmAZtLBjVp/ATYNeRnSSEFkElkPF1QNexLBgeFDLDPJmE1kOfCHDYoU64RZmcmmNY3IF3Q53rISzqQgSamSLWWoYYUQpDRaD1eYe1/kiQmLtKHpwZRs8FOmswiS9q91Z/1yxl44utGEixcI0IM80tUaaysVHFb4SbJFCvd3/ajE+K8/OXVvtUb1EtylDDWi0ZxIQVutbcjRnypGcxSmrXa00+GZvEj9wsiZgsEvpkVfif5IOmVRehSICXx8m4ycehRiZdxNB6B6nKj3z3jKz/2vOTCnHuX+98/i/FLK6C2Y3/RSzlpZwvSdv/dgIUOU5v5JqlVXuA03fImauFeudY38L4FGwAGNjxYt/cTCQNOQw1B/04Q1kuPw3XqtmOh1EEfJI2d1VxPFSjBe/+0iEar21wkUB9WVKjkBTBe0bf5Ab/fpw0hSxTVnECl5NrQ0QdjmAYkQ3fSgSSGdwEnajwaD8W25wqovET/pivC0ym/nwm1yLMoTRGuOvV25rEBnpfLuYipPQpM8A6fNyAecXLAhYxk3VcSUoMlCIV23dvU7DRQWf+VmsC887ugWWmP+Ia78k88eLnUsylClKNbvPQ7Byg2aGRuFSeIMBkByueBIwX2BAcnrgdNSZBkb7DxUdLNtdoRYlNg1d2BjU1TMlRr05tCwLVbQIm9jOsNNqgxkGcEO1SKTPCncOg3gmpQxqsDsXcoKJI1a+SG5m0RnH8LkKgFWqM5OHn93LcxD2aMJj3OLftW+DuwbL8yBNEshZxKfOuiHwZSlyFoYq6hqIWlDoHe3wAQaYQP+Wo/kTjmZNf7xoEjCNmbIj+1h4DwZWI/RVWxIkwEaPgyFd0eVQFZSe5qJde46sLCZ3sfWldPVhwwnivd/L4cAiAIMln67UsIibn0BGw8NJOYpANzjOYtB2EsXpGwhyM+GwLtzkRuM/yTuPakW4XdYDp8rrsBlC8WfQ6Fi6UCf12Nee4X2mL889rkpOYhrd6J8Y9fao4GAGfrZeYSRdRtUGqrqTsWKcSSPuks57WqN3neWK79mM1zQFmUWKIflvqBYRJ3pqGHSMtCuoifvf+ICV5SptGltI6tRlq4BE5mVFyHDvuvn1XRGM28luF/7Y7ioAAZiSi+JYg5MYNtfXeqR7aWpN8lLk57KkLKeoINOBBQkVyqg9FgrXFFy7Y3NmALmQBtHv/j4g4NraYUZbGvNmjF2AuT6YvPAI9FTmMd24g1yTvL6v8JqT1ykbsusFOZLGZDB9vMcddSvrUaIWNKhOFQjkKSvdpQ2FuSy60QrCzHrYi62XBYhD9lJPm0hNNUihM8pjutS/KjvjRpJeYbWl4fDcKqUgvlYaY9uCzGMs5Atu5/JEjNia26Tmtl04U0pv8CSdWjeysKEqZfFJp7XxFJ5vyvFYIBz3vFgofDNMWyw1jZgzXUJN5VVtNA+Mv5BRwb13DrEYBOOs7iDb0CKVsrHkRbrhNBmVJzrAiiiIQ0Djj3DYg00An7y1EYX6xCGLKpD7FDOFf2yO6ZETPcexVtdtIVOwyL5DKTCY46RkpYDyGxsIslfSjhwMyGdXOoQu//ANE96tlpOmXK7YLuCk01YHjOwzhyi7QPh8Uk4YUqC+dpnHhyc9n0Firkn0eOOMqrRaIQoQz0NhbBNegl2mmTQ8i8a5H3Le3xpD5Hj/fNxZQgmfMNughaNeZq81s2+MIwvMufCCVci08DKeybCqGqz+r04kwqgMDcEvNOdr9EY+zTq3Ke3V8swmga+wZ07FkQOSa/rtEbqTI5vGAzSXnJNOkLOqEahtFqjECc8kKtt44mbsYqpZCA3Iht877ZgbACYFdfXmar7N/Tebdbofg0s0VE1r797w1V24vxcBP6XoD8hhacRv0VgU6FNY7ALZjggYCnRCJbz6aKcTN3L+IAj8JD5/MonL2R1+QZdWTIaL64EaZ60xJurh93LZgdAC3IooML9C3K7LQitozJUoN/HncR++SkZcaBKKARrGWRhO8pazJay8JLunfOJg9QqWcWZkcPc6FkUztGzAYtu5hvNOYI7+iMeSSnqmmBE7YjP+0v/Hv6LNIj6PQHjMW5sQvtaAGg18YgPjTNXVIrxIT0aoDRAuBHCVS4jKXJnUR3g6K0Mm0ae1ZWWBptIfkjCpi5u8+V3188BBJvQTrjTa68cVaJHWbT1K0X/ZU3p6D59v8sfJRRRVu2TmTwdrvaGZUBRfADuJDjOHgbkbV6mCgg3Oy0SyG6kMVJAjSh77qnh6LanzQJx5lKoFegWxofVUIVjRhmRLiPrPW1kllOWYGlEGeM2tnuxeW2fByFhRcPsBcaCqPUC+fSmeSuipLVXmLDmXuirlQaSx34rE5Zo/p8dUcWV1R8thtvD7E96OzsdQiEA1rSoNXYwRGYqWqm1a+qYoFF0pOqwIDwzTeLu6KqEOyGdeHwOAtlxlQ6dx5md/SFNRRmQYDuAtQNj9QMksiLACD0chZ+p5KtUDcMrJIgbwDdGuMfSIp0Kt80auGaP2hB1E+acS2NQMOSVKXkvasu6l3z0PqZcW/W8u0fJidDXrP/HC68zovnEGMMDO25Xk5vSPlbe1mDmHF+UhdXqMqiuWvjeEGDLBDqNFN+OWBhTIlR7f2zT8MEWavVUi0WrW9kVAih0wBYW4e+HcJ9QeY7fccfTqrS/Fp7uJhlftAjAiiEfqKHDd4FiPQ522H35HqnZkC2ZXf+aGNiKr1rwbMtwIaCcVf1CfAKO9kSheb8o1K4zaKP2BVAY3VHVsnDBEDVrAY9jqVnmtEbpskLpE1EigFRfXOTa7H1PLWmXKe6CX/+pCY+Uc2eZB9DPXRz983G00xgx/7Oyk+8zYUCGoTFhbB1GF+ASfRSDg1WJKKEIYuAOF0clJ5ZkjnDV1dPws2p9vE7H2vdsmWVGTuVW+ZQn1Lb2MduBlvNozBOe2eN7mrsK+9BF5zICErfg7AFG+I9qsCMEiGoRkfov5yMYBWYt6KC4CWgaN+egdZ6CvnQFRMSix0RrG6YhH70B5HiCE2FocdsztCGJb6daJu3lkaO9lYs0o16sTVMchx1t/q1b5I+Alv1TqyNpb2GG/1bWZw/jHrkFT5J4oEfv4nqRH2P+1FDKBQruXHRfbTFDsO0w4y/JJhoGtIHkIcyxpguidkewt+b68X6hDBJZ2+acbpOHBHfW8PAtEyuuSF453N4CEFZVJCGjObgulu+LLYVx6dlFkjudluXP6sElYpkIK7v5pnzBspVuDH5CjQj//AjvMlwCm9uPEx5viwHMDjGVjH+vY7EkEUXLme7iw4uTRTF/VNTVlprPGyHPVg6Ga6xaRp3BKFWDlX89/2rpYpAY/PClZURaoCuqX0Phj/ekNLZRp9kucYNa0DEOHLDXeT7cPJe9fhYXHKhbKLUJMA3N1nnTygdL+Fqvp+8ywGGc3Bi+tZ6Ide4hX2Kf6cqbYmCnmW0RyS92wTmT48JYODaGzmRgtecN4u5l02nLqyX2yvqyi7VtIhnbxuMMirGkD3MpiuyMTd6XHq54r5sIkWK7X3efD5OVCxWRUBRedx0WkzwpCAzWx3S17qCIHghI335GOi6MluIUdcE1Bf2Q8ELJgM/Y6VfbTlGoCM8moVXwPB8/eGgxlSLyPYeYFFiNMIy3ympYB/YYf/EehTioY21lXLST//6LfksO3vm6flqUiiCUvzYCpcG2ZSYBJrGSmJQY+GIU2OpgGEqq7VzH284QqhVUNKD223Plyt6wKQfjpf6vd9ZblKzpJiE6v22+mR9ATTJ8IwEqIInHZabv3hkvJ8/vFf9tNxusENOVqvr6QktaRFNbQa648S4aTRIAJk3g9MM1vinkys9CcGhqtFaD2YY6PQVdj4TMUPm5DGX9dwWgSGmEAfiMaDSD45rG0DglFHY+EiNcYoEBTLCkECB1uTUmyepNrPOtzh08NHzLrfauNBiNFpxxE5M/TSSZxEc3PWig+bTCBodlbWeTcclMDhreSw7q4E00NBFzmdZD4PlMlS2NK++877d/Yd8Y8lrcQfTYtnBH8drb6JTtN7BKxdZrdT0dvdLsYRfy2kup6GDFLgRbGWk2Th6ujujY+0nvH7pBNkxefOew/+Sh/yCjd1ybOQ5DyvfwonMuXt2clmkRVN9SmDm4ZZh1iVQ7AqvBU7A1UerZtDuQ8Ol/fNBwi5VGEoziHiLS0QPZqepaB58txjDU70J8zhSu3SQaccEPM3h26J997/E7zkmX/BAYjFbVT23KOZPHet1DpkBNH3fg6nIg8zGJQ5NbPhjPvHHGYkYUo7xIcHAu9yXDLNgw14Rs5iYuC+YW/LMMws4ZZ2rMn/1ial4WJiQ895sr4ufVqjgqsWP0CpoBdn4ipjIEaSQvqMkEqHgYbHDfs6iO46Lphhs3tuMg9j/LGFYCXc825XVmIp+wOniNvr/l/ePPoiBOSMbEhhRCl7lX7GR30AP367o2rWv3XqL3ec0EQ+8J6jGDd/rQyOT9DPrv92tjiT3EgZQyGFtS+6PS2d41lqkwbGZ2N/Ulf5aFCt83C3vGXSjgv11b09DA/CpIAvbj2iA5Aq49K0TsOZKifo4Ry+H9ZZRzlRavQ/L13BYHhzPFAOnkHSfTTa0pFVMEplh4ZqFcUOnmIknVHidNuDZBWk6dNlX9HEsfh+Bpf3ob9GTLlZOfl5BG2KlBhxgfA2u8DFRSXJApqsAaZcvyxMYhudQsVRVbOQgVYp0ACb7ITXSMMY4NBj2+lXAYTqLT8EpsESBOANdoEvzaYjX6wz67zeqQG/6zGLyRNV48px9UIPXp1r3XexMThW6ESIYpZWUZyzjvmoHRts/PpCp2i5+nDsjQHeyfknSiADZ9+haGj6oCe/W3lOfzxafd6CsJkR+NJA/dkDdUT5wJIMOTqEKr3yIB8sbJWAkAxBmge8WUomiszoSeVVsqund/fhGVKNhqFHAUNg9u5p67ezhy1+ZXTdvvsfwgvrgoBWWyx7DCwslpizHtJBpwA3WReqIShj+CrCIr5F1t4gNPqDRHFaRGkbeuHijP5ovVBhR8RG7tQVb45Zq5ukFG+wJI7nG/O5j7tXhqnaAA7KlyRaiLUVWRvTkkrfx4IvquPJzl5F6VLEDBOOFlw7mFwDiGhv1GGeBATxSaval4255oQyuqzgLm/G/R5d3JjMMaMvlTWizVwN1RqJhyY8IGAOrZyLsihgZyCoEE4I73TSRJXTooio3Qg1UBI0u+wwIoc0uNrBlstO4VkfCWRUxWdEvZhVuzvm8h9SSfhchqA1W2/HDFhh3zmw2VQzsJl4wwpSO57vyXpPBNMnl2WULVolAOEHAEoRrONVsURp2zN9tNkJ5EyHJ1o8ysXvxXHgG3gqDaIlJB981icGOY9fKOleHdUPEp0lUyLM1BNlyh8eXShWksCoZQpUPPJnp7p38UUjHXrFuR5tOR36Tg3kHbphJyNMFs7sF7JP2QWkjXAQl7tZ0L8QASxdKViMz3pa4LMXrG/4IQnjRl6TlZJSfNkkwpqFKTBZtBYxYkYjSfVmv8UPJqzxQ+/AF9Yf5saiUu0baR6U9UZDqhEUhAd29FMuK/EizoKpErWA4jwzQbUjx0m02CDP94tZ3yXYoZRqqujSfuYacMniqX4sAuiAcjp3/doByqPIKvsnVhppcS3EbRRtRUHBa4ZYsJUiVVVNR8NRQiImsvvpAUYBi8QaexwWKqrPf3zsKSdnVgBk0AgDh3nGP2sP0LfpDRJulBiFr7X6ikv+DNxq7SU9U2gLEu/Y4iyuiDfknpHF18Qxju5Z3uc2P0OThIL4DALeaEag7TjwsVn6jmbWFBegMKLDeqP9lqSmRlknkggsj3FwHL53eFVH2reBHpD56jUTyjIACRXeQxsGVKJh7D+i8A6NszLiv0RPSzicOMJs5zds6vy0iV8WfvWwKY/wHcSApe650jRhuXJZ8CC4qpTfBIe48Av5gGkqpqVvyOP/JsuxjBwdCYOmOFhml25xHmUe2FCnQu1ZnR0qe2v4Jp/JRoEgxyPP8K93EQU4hRyYusb/c/szAHzn5zkX7tIrf5TDLUcxNsCXMNnI57t2E1BO+JvCujKKgnulGV4PLitYvBXNGWLy3JsTPdGABP16MXbpNpytpAgpVd2LivRs1YQ8VAgHcDoBdC16KGoVretKFlWmYKq0nvKSm3lXo1AzupLbSuYkukBbuECzY4s+KCjYIMinOOdSk9bAjENzqH8G8V71SsrS26Sif8+Z5mKSdbL6JfjlSR4QhySXbjBNScN5lAT6zKYsjx1UxvuBNAJzxVnBc+Lku7H/vzVRlN5Kl3S1Uc6HQDJ++vVKg9shyVtPnsNFpTCW2O7cKX1E42v91bvdo+vncC5JgqjhiY0xEogdssG1sKDTy4WBN+1ZKbbQVYPFcnFw0eYG9tHRdXChnF2BmAeVftStbminl1qiTPqm7v8LZ0gXDDLuzX0MKq8+2XsiFpJ2aSaCO/f3xm4IyuMRVoURRXdcFrD7VCxVm/5mKSLNnjJ4HzCsWHttd5p1EkV2yhg5kxMzrWKmxPVmKc0E0zz/Sh7MEto3HYCsa14Q2UxQR1B62WzCL6vkcnBABvD7KNdbjrMBDY5wGAZt9Ak9d1ocPRStNTeWJNFXFI0dvybIZ1nB/QKHsapp7LJaiTQQIAf0JGhbbbeqoH8quB252c8A+woNQqphtPG8bmPOXOKkhrXauYX3dR7p5tv9wOJCuxPfxNW3dhuK88ZuINMhkjPyZJ7huEuBM6pa5hEl2IXxF5WT24DGlV3q8NDnFvN6HfHGIdSEXoMz3DF+QWIrlFSZiIMvn06WCfTtxuwKowdI756gnkRwjE1JiQ3Sv1Z364jhtEaMJRUBLWstGzVftfsHOuv001SKBKhP71hMy35/AckLp6nMuMlZGV6w9qKOd6ysAjXgn8UQwDRvDO678AuuNPnXSqi9iTjoJw5Lpqt7PMBI5RpQcCnlyYSkhv7/GqgRY2Hf3y/CRZngF+/N4XgJZeaTBABi8zBXFpcGNcdY1nYC5Fi/8zgi1XGCqOkXDNjmBV9bz8okUWc5AFSEnDSAMSaiZNDv7V2Cp6oNMWGeAC8eETQjKJJ/I8cBLD6Xve+kKJn90MM+faz4JA3hGtllQdUcioJv16YUBUQlI8Kjbmiw+ugAZnZMovB1HnmNBD5BPwPksm2ySz+O0NQX53jhH5Ulo9+UaAlpTLYcqpEyVgPDlNAsXCod+9hgJn2i57PK1Gvq6KCgPz0iJJw2Srgw+g77gQsTxxU4tjDriZUuYOLZS02BROobtQ+rQXuxWU8uQqQMVyKIarDqXWHNQq+HhqnfENlaoYNy0c4ORPoZQGEgWUpNdPJtvjE5fPrugoCGOoFury7fB5D5tNddabgr1k0HKkhp/55EiZTJ1VnGDJHqloE7giUm1vgim1bdnqifzNgeGXS19hoJhXI/qnMx8QI4CNZ5eDNByVNymf43MvPVBreXvypHtFS3LjJAhwQhYeIsPS5cqbocuiud16GZOItXgu218SuPWrxhx2v/eEHAktDwrT8zDcyDoGeiGjBjPCCwvSnbf8GeKtNW9Nnw2dehdiKFrLlT9XDUmiW+kVyzmEjEFXfzQpOJe1cBujUnfx3P7mL/XPGtlAVPM/XJEdfOruKyw4jyaYBbpWEnUZgPh+bO8ZVJLhAttes4ylK5UaXv5eKi33RPa77IGKiqa/ag3Z1U8FIC6EGgQXYCGt5dFzybMC0Ko0mSmlarSnaBjidtPewKPM167rKgH0+R1nXOTyOfCJeHs0OWdc73zJS8QWIGwi6j7/LtOqlNUMR1BTR+XkkAqt8lKdQxZJqnVwbM9AJUm3Vj9VOWcEwRtRizTcg2J0mDuwTnXiWk02lhgYCkjjSvkYYUjIGMnZGFEdlDfSwR+yRpDaeLY7kEUTqm+8HR/GYVT47ZmuvFibR4oJGTpjGRzZNT1GSP7MijPqGFuETMxltHgSlmR9QLGh2WdB9sKK6s3P2Zd7aYVysQm2bTjsDifZjkiWEUJrlniD+9euIavQactl84LfpTrrWmu/G0Epm0SRDfP1W+pesccJINbJFoXzEnH0KMRZ/wNT3ouf7AtUUHUsDBNSwqOnsU67vOk7osPv+I1qJrGfdIimYEi1K60ylLPaNQyDp98xTX1oMJHmh6b+rvahtH4+534n4Jjw+zMsVNRBMlvkzd4eKhFaPAEb+SewVL6Y9aqUq/MucAdE7beIoBS9bzG58QUQ2dfq5cLnVy2vU3+EY3uoUTTiKFFte2LsA99vrGtdd0CpVnIZQyPMQSjxLFicQSQESY/5EqQ72/llOzwmkv1NAixV/pSa8lnZ+SbC5RxZyssW93zLlpOhZ0MoG61gA7E3Hap7nSZh8dyunUg7qCZmOgLgzkkkyUgXKzY/ycdfta8QwJDaru0Gt63owczweOsybqgwPWgVD3hM5QKoElcnk4BizuLlz98fwWSBvRLnQcg+6dngwhZPKQrpqsEp0msKX1K9lgzc+IrkVuice1eoo4Ctd80YyJ0LvTTtA/FHh11pdaY5F5AvujI1vUHhZZ78/iyxkGg87BTji9TDH+bOCvPKsf6bdCinlhyjnaNO7zZgy2MZbYpo3Bnqx02g46t4HFptgH4stjSPhR/PPLd6CiHoS6itKf4IG5syk0h6O3kUTwCLmLVpAx3B/LU/z/Cw/PkiCUDoB8S2I7LVjhs/JCKYCBoODoYiK9XcKEyQYtHAPTp+1UpWL+fXJTEpQX+vf0YJ2uNrG6TqP/0XYYnEVNmAV1ho3TgmwfkpTDiGHsu/abyb4PmegkSJ2gAtrEU4qs4m8HvV3finCgJ9NAo07uLbC8+d85l74z3ekBjCSt66NzeW0JoqWQZSf/zjjKFIUwtEOJQvrwPrWGC0jw3iazXaB1rSPsniKFEbR+4mGz4VfpImDSFEvaxR183cuvCrX7J2X3B488EkjkfNk6muU4STEA8R2kgR9eaJzhXUCJxfSVW4Ts0LJWcAtwkoZKQRo8z/Iloduqjt6Ylu4+mV2tLCgHx7Kx1zdkWOF0T8TpcgRGIHJF534Jh/xeTPWoAgtmseWD6RFFN5H/Ic0U1JucsHUBfiimyNb2eyWxuRvRkBm5XGYaZgcHjD/j199NnJmhdTWJNGaqpQgnKe/N0eZTRYbY/LL+rmDuUEMcqo0P+QdTuRE567xymY/bf8iECRjBgCwi3dwYQ/LtW3um7e7Icphb8n1QRc90lgCLgCBWxisXktxlp0Yu+bsRW3PskKKbLnIZbayHOCnuvysePcJBSIDabl4efhrl1ZfYI67ujCOesXjRKtNmSwKWgvCp/D7GrWS0fkk2iNihzcH8OTRC/rA9Z2rTmlDzVh8UxC1bXemjvqnHYO7Y6h2LWLecHPhmMurnl9fzk6r9/NkLXjrbjDrgIIqiumEUvaQfFlv6iF3NfQ/z7VjWduYyl+Md5DAR7+XQUokTONokCZ6w3gVGiXAsNEL0oW3smW88bE9lTauvXwIl+OdOvBGIFg804X+PFc3OOeIc5GnpJUd//XMpO53Efp93PSb7bSmiSHZbmfNK/0mR4mlvb1V9r2Mg5QhuBy0xfB96KOJlgeLbzG4pbJWnftOVG9625preuueSTm2CUrsev79SwGzwAp0KkVu9VDl2kAsKl5dgW9U/wDZpsk66OxWlgW1YpcKJFnC0PrYEJe8JlEbQ7PzZaEQN2rMtlyj6Py7Z9iV6ycRkue7r9JfWJ722cdYZI4amXJnDCgb9d0/ULXt2tovaS+xlYMsh8i1qsmuh86ISnN7SiMXixCkSIIkBdreIBWw2Rv2WNtHw5GAGXNRHq1gJ9GXAf313KaR/+CDXBF6yxYhGD2VgLg3+JwHoxpIzuwZUYhrFZy/Rmo2wuuTa6ulV/nw+vV31fRmzq4JrThClIF3vlpqWgKmK82dYGw2zo/rG3V1VnAJlQaM0+kD5iQDEqd8hHRYT+SOCiRyMw7IyiXJIy486TUM06AXuT4hxWmMxtBnkyoTKR3nnMz52eXOtOXwkBRKzh8JwUOZET70jKBJp6OqOh2+qi7oXae3T57daY4VS0+Tf3Y6y32QmaxQXsYONzEMRmWCXgfg/LgW4VFV0CQ9oY6N6H7Wy32GqRNkl9v41azqj8EoyzxMxc8i4y0A1z1KIrGzF8j2kH7FObUBQk8bxIKOvwBzRRY2cdGaIZWckdgqwkhhGXnsHlOzxfoHe+vGqgHrcC9cE2aZyVeIHtE3Q358ON7yj3G2mzyF0wGU5lN0EdMLTeycJVfnJZsngsyFmKAFGSCFAPFteDZLvFNpqkUKGhM8uatL20n881hsI+rnnrhoSINieiRqBGdr7ReXe9Nws9vQswGeWns7+uiJUfpACNy0vaAgbs/IQFU3dFeBaceppql+bmEyKZj2Ewb1FAwLWA0/CFJ9/oQ8xH6K8wGinfWSI2fBKx0SlVpfbcJhETMjcWlejvXvpJd6RJYQNQS9MaYHY+VCgYhV7AAKRE65wcP8N2mM6c+1Ij4ASsWzEUB0wEvXEcH5BFnUyWvS309v+lEkEM2WJktxS2DA8iw24s2sLMa0BTrVvP6XoMIunMM3KFjrWGJjPi82L/h08gHbnsWGYf+H9t2goDjWAUcuEgNYe0GH7lCs0jUCi2+1B7TRv34BCvhZvWDL6oJpqtGsO8o02KJPuJpD/PhAOxXhKrFcOaWUN+hijudV83iibOsd/S1lemNbFcyh7xva1S+WJJQXJq/lb9YEQt98nN9hmxixHxNoTGaRacMHiS80ls0PJnV/hFgJq8n0AS013If9Ype44spnj2p6F0pT+UjAiDu4wKrmyE1n/87plINPfgbMh2RcH3ZjrZGaTB+oCEWjl/usoAg7/RUb1yFQsahb/HTRs2JghVeHwPdxK8xBkiKTAuL/tTmuC8fgKKoFkTtJHyt6rcjFgAlVyPXAf9lBUZ37NlBy/TaqEQOo9UaYN+HgGFM5JAGQBI0LTiOsuEL+PbwgH7tFVLXsuP51EOHzFh1K36YYS+ihxS77KV/GAT0KaFlz7KKp3MfyllkHR5JuA7KPbuMG5+lOJN+tXT5voz+RDDHcg587UFavlbVSXE6fTZNyNpUbSqBZMe8mvcoxSGAiKHDro/SH805gyJ+ZCX214FjBBRfaomAJOAMQs4h5Nyv+NC49iWcedLPwvGOHWJODBcUp5cpQo6VCeva8P/ovc31B5KklpQuXdmy+34aQAlSc1Qls4V6rvpGNKnmMsYTqI34iWb0nV9gRF075ziSKDO3fj+Ok0/vMZTgpVLDkqnGAtmVyWSbN58GY16Ij03YVPH+Ja2zkZ/IXTQqWQ6XUWYpWczEaC5J82ZRPw3vi+YG2mMV35tSUFUR+VxNkmzrcAzZYh9tZb33ewgcGC6ZMLg7chaf19DVqEOwLh9fgIFSn1SX987H8q+p+yY2T9kakfna0ekX4itQoJE3pgT6FGfyhU5/+vgvl4zgr4GL1cXy7ZoaV78F/kL0CAjhtZNNDcAuOKsIC+HVQQXE1AMh1zWHmlKpLsC/xaPSxDbd0/iCtRAkL0fBQfU5OLgmzHP7+zIvUtOnbCiWODD36S7yBdR54f7P8DtW1annnbc1q15nM3d885pBT6HTOpdQPMROBZuY/JZFQvuB/DdDCk2jKMlr503D61qZsGZ1rIEQfXB8BOFiI/Wygu6PRu73bgsqx+75WgdDBCKvqWQsG4ozN0XHFZbcwPZDKIsQyZ9ehIeYpGaY/fct+4eiBSI0s5dnt+bg0mjtN8o+v8kHFN9w1qK45RxrmqcuXyUsr44LKdsGlltFbJSVOl9fLjfzD9lAppsrqrp+w4Hqr2n/21Mv8yKCf6MrvHIMGgLofqu2wvNuoVIe7b6Yu0+Ubn5FqKIVd24ijhhEvDSvmzXZhA5SpZlDfou082JbwKwDNjHYsbc+iWCtUV4zUIO6fom/MCjOnwoX5nYLoXbreB/6QaGy9EVoC2ii+v4n9UvUjZ2xZvMIAO6vKdOXkb05Jl/GvgSVmD/iIXBaMuXUzb4Q5RJgtKW+GuW1hX++J+njffMXQaBjTJm1I9T+ktH/6V4S5nVfD+rWUvNVMf1wXbmg912AE9oegFpi9VMBzAmMam4VSXqFrwBql3u+a2M0UzBF7pFCzHkC23UMyHCl5yPwxiJlUUYVbKYP+LjTvhJh6ddlkcEh1R991hjs9kOKe0Jl7QAgHXVMFTfn6WGsYfscTa9CYLVg1VmZpod9gmtjk+YUrUxEXappKfdqJM9RuzXB8U3trUZ5JtxW3bhK1/Xp0aW5Rnnz0NbtHXlUGqxX/s4gtrtPaJCq/HUELNRicxIfQbShDwuw+txgRZMjW1wedaW0inY6sgsxmpgripGL2ERPvQwP8Irooqdw8VF9/alGEGKFgFHvCDFPBOo1SKQauMzhq1yPl4jQhe707vapVaff841HrPUweVM05ZxvD5rJrFRcEuC+ZHAns7XUeC9Lymfky/Ddb1xLIkTyRHBhpC3hLY0SPCb8CFH1lylyEJNUelEqGAZ/6Kcg0H4koJNsJFB4djwYjqRwgJLKoCFI8IzLOHnMlSQBYF8rwtKyuS5V+O0OBICYzsvFX+Q/xjW5qO275lSAac7aP6z1XC72gpPM5xD/vYT6gbzqNcqnVDFLtxUMOS8O+eIA2T/HVWd17XU/4DVwW9n11+tTa5vBS12D+xB8xWWoWnP9uOYDx7bJWb+Ye+p0hOuPUNopQzoMl2PtsSh1xYJCIsfOHwDQ4b/uE5IwkOuGngwopuJ23jLG1+A3n/FYScU5v7a+Pe1FWpJzzzO51FgVrNgCmPhQdBMALFettP4/hTh5BSKHr83N0zkYTQTNJ6eyNMl93oYwWBUkrHzHmGiv0VC9hvbfzNpFjtHIuYmLcNArGYoCkj7AWAX+FkPAFuvzNHr5UbcfWerbOzoRtbdfy7Yf9jrGAkwH/Gge1qj/6HQ3N29hPtB04r2NcGqq75I4oBD/LIe2++P+Iy6AGBFwpw4R9is3C0HfbQnZlPd+JLjxy8Q299E4gp2kItnVVcwNpyXTSj1rVI4iE5O8aGrJVjOcEALJgKujY7GPGOiVKxl+EsQuF1tJKexDH2KlTMZjVn8/jNQNG3QwiuOstiCYWH4lR7V+FOYAf0AnEwTQcpEcusOr9ZUeESQn6r2pwByceuRsxv5pZYquC+pjKH9LGMdbGLeEldz3IRf7cBxEOK28tjwQQ7lNODrYV5bzjPcI8KotCBYsfrCSvMrGQ6H/EdLaMmy++wLK360mNx0z0ovZbEn/2YQCDNIs7UmCBf+Pn2P1GfA2VqYvRDfoZl3CKajYT58vy7oABDH+BvB4av25gg7+9zbdaWGb6cVJijYi/o9rtVrVaJqnJ+E/fQ42vrzoNFu/LU6H1/xCX+WYClIk3YICoRk8qT7cf1+VtQDMpK6aaUEpGbc3NHA0uQQH9FhfYnoYcIJdlBBRSgqoLJP9SSgfNCLeRyOn7mYT7f67rO4K+sotvbyF5yPPvfbNf0AoI0OcF6vR8MvKxY51v/F6PxyiDXZKmF6gyw6EA0UCZR+qTLla1vZptCL0pPbL9DTr9L2dibQBpmbhZB1AdzmpCk+e1nf+reUS0ulaRx4dMMq+bNKXUQElJaN4/QeXBh7lkOn0TwMj7LlfcjqN17wxiS4sghOOXv8Op9IRonjE2IUCHk0ZI9Wxdbkz6xYWw+1T4wje4hXbJiuvYlen17dBK74qiExc6SCsfCWpKzvV1s1lR+tLZC8DJburR9x695Xvx8qJURXqRhuBVJnEI3Z6AnRsjxi2Uj6MuqtOY6lB1TiLvY0KobIgdkgzL28HdR/QDU85+YzuKbL1UrI3LCWbFPbYlp7TOvpLyiuU9jSuTpQ72Zoiri7a9Cf6IFDmzMv5Z1QeoF+l57IwWvxWh32sce9LFEbVxB2uO4wY/Gd0OvfTFunmjVqHUAmE5dMsn7lok4Y6QJf3uq2Fmmo0GWdR9A49d+wPjdVelwRQw+TeTdK56hf0fazE7sm5oKfvjBDnmxhpDpEe410SNfqHkowb72BxPuNvS49p6BxBkwnV+yj++z0GjvnUOVHoI55HcmRfbI29kuwyyxQx9vTRt2KIoasZdIsqN5pdTPOEVDqWQdZR84eiifLuihZlRNQymOW8sIEddEbigCmDwS58GMn0XVF/DaNyXd7W69gedps/gDLFNh92Gz9Brhsowvb7W7vosEjbSRnx46y1likKjqV4ItjphflgLV3P41gGMVpurx6hvdQBhrMYPa3MutvdPHRr9MvSf9M+EUPICNy8JsasIVrWFZee5ikgLH9So/4UnlGDv0tu+5y5/z/x+1p0tVZLHIjvJlBhQRnRqHk+4haXSpSKbWKDrd4oglJZN6oZtHNY8z9xpV2EL9e4TmeEBD4FqCSVAqJuCZHm2WeitQDTKniA95sFVOQSBqq8PxJ6Xth0OMZx0+Yrhl0u3tzV1K/XCWCYJNi85ytbuR00QCu9S0WKdLzZL9gr0SOgBKgbWGRy1GohRlK6qyyh4ODsvObzoTrqCohE00wEkgoXSRXaVPvmCEWesLuYUuwBgxdIblgKtbBlu7IGC3zIno5/0GioYECzECxyezkXXklITfsOePN3biSmCBDcQ8xLUZiBoic7NlGFgT5UI7JK3p5VevKAzNTys4VMN24VNt2nFC8Pvr7vSBLTKXz9QcKWRH6A3Q1HWvrGuEoF/HVoTY/87YZWZnd573EAbNsfm2ZugywqLAP/8Ub/qOD4fbcw0SUs2/lYFPBlwCQyk9g4+tUMcqkQGSM4eHwXpJXaPuJD8Pqo15/uDz7kvbsuTxLlf03P8rly8do9X2HK1/i7hdcG68uC7SuRcrnXtrnNl120psiwYtIONeTf/fb8E7B9u2ZEDMN+mBDGTUBXZLgNpG3bdnXsXzwnM2OC40LCToGv4oSV79ZVYZvMj33XmCA5q8X+ORbjmuUukmHd17ElNjM6UDNxAAjQQGOmwcfyRctef6NhQKpjTYqO034j2ipWkny8vYsBAklTb3z6utE63xlkuqpeEJqGuOfQE/c5KD+SCKcpZjb1gA8hSYTR9deim0rZYMBTasf/4LhQv1x7n2ZHneOCWZ4hr30BEvrgfzw+HjKPuVzGkMFvRUbVA2SXDr9/4sKc8lYp4xR1IOatKZnKndJpm2/6NuOHQdTaJklfSRtuuh0TRGLnXYl8kQIpwEtQ1GPYu1VxJiMfOAefQ3tKNzLCbSztZcvMz5BRdVT6yvypZkRXwvo9z5CTeHprac7TDLXDALm7jyJKIa4kH+RMRNh7xM0nWrUq2Zpy0RF3mPRwhR3LCBZAP8ngifC+1ruiqTYWp0zlP75safv1mELVxsAyhQ/T1Hg+adE96eOet4kxLL3gURhgEXB513N36hIb4ulGSuRq8d0/18axika7qt6EPCGSPJiTHcBMY18BhymSX4yKLJqYYrq7Ls070Eccx+OZzPBeVjsmJUosj+3+8ai3QOtZZBsJqVYtyHd4GlNK/sOngnEjGzlq5iwMWFlzHNFz5rLn6Q/v9K2+Tn09+F6VQfEprH/sjViHjChCdsXnlp3jKhh21kfRcB3DJJ7+zZXZG7IiZ0jwrORsBlkBu+zRIUtVnXg35fFpZegEU0hC6KBW8xsVcNlcfKtramFyYZhznU5fglXBw48ZZhGhWcWF2U16IVlSPmlTJmyRAITVO5ftj7ZxhiLkO9pYlja2q49WYYMWpdRm+y3kZfxhBkVu5AnVhj6Hp6fUyZ1HwVTZm9RWE+0+0eLRW/00XSVj+HdfLYqcI/I5qRZ2WXfaEg7B9lyeLzJHpfFB2Z+1eUYPRnPSDJXT5GnJAOykvPuBkfi9HtXPPnau836L1IvZ1jj+/SQtXvaA1T2VpvKt9t1uXRfGdxKu1AEu/kIZIJGFX6+C1cJJv3PBvksaYrEJhE1n2PpBx8OVbtOkBn+peMMUEbB04FWwphYl8vLGYfpMnsNIdGHs5I35akFrY9DPtto6+exQu3/wk7GqkvQajDHNgb7kuqRfx4DwuKUpJDfC/JtZ3Jd50IfipmHrLRun/wA8sBpwC0GDqgMNma4/qQtxMWLCEQOeF2DD1hTQekf/BpWEvAEgeSs5uSxqcHxX6R/pSr48IPAK8ytiIYuOAb95XBxldfmEKHVCbwPxPoBow+3lgq0AbsrZKeArh0H6H8xUSFv35Im0ZcEulHZFBRiHlEed8KFVvBh2b9zZ14EzneWaZhUTKMX/utN/JCt7rQcIMiBlQn8hQa9kX0JhlWJq/84tE6K7uFcHtmB8Z7Nih+Cfy3BN1C27h9rMSI1l1j8DM5XB+q7flLSXbc6w6adlnIttAbgrmvKJTCQBNZf2uRoIqkmHhyX4nBerAjxEkBkfKcG3q2s3CAils6LUraed5FxADQJgoQgiVyfWqwLYmiEQyn6vpjqjlVL57ddGM5bk9CXZGs5vboXKHlLsl/0vess0XxQNVTKVmPa07HD3LFx2pyugvl5XIgD4gNjzsIZ9FrmIKuScINsk9uSs9/kkzt5gCxwuqdaIgCn3Y/diALcSqT9qY/HUQ+reemGRYE1F30ha791eErgTtixs3ik7R0tmFbz8fniUECNpKVzVtC8Zo/8fUdTaBSmaO3HGqDq+UuB7XePmAbj0vmB29NyMScrf+V6NLh3ggLBlz0rOmNI8fDraoP2F6LvW5thFND8kdaF/NKlYFnocIXXEE5r4FbMbfl7zdQTRpC7rHr/WWbk1jLGTgVU2DLNYuo2v7QyfTmE3SYlOLUWCSmSLGgZIED8SYwrY7KBmv20y6t9ytUhKpN6HQmW7ucYzT/hEGIt1XLvsRb4NlkEWBQFh2piJGYSKdqrMq1gSmgb/7rPOBklFsvLyRcMgV7rko/kGIxGto/U95RZxf7Hz1oaR3mn+RhrW34c3tUVijQiSB5Mf3y//Xx5qPcVwc7BIU/9WRIoM6AyojJSH6ONIR1iGNrcRelrZJ75GcWlADo98zATgSfIl4gv9tgOueMqzgEr79HU8eNYozPO9RgLUtY1pvum9zzC0KOx0m/C+3mCf8jX55w5rlDuCNEpSEM+uPvrczZaFypZMdIFUwBujkit3z6+fA14BJgcCed1aUjWSmnbxVXev4yIBc1mVACO8olUhwkcoZcsjxsn6ZZ3I6dzpPUkhSUFtky1R0Ze4niij6dOkQyfXYxbq2jvrz4Omp7GtZFxxcOGSbXcVZQqzBAD7Zo0S985bedQ44JFSVdFEkI57A/tw7zZb6v6zvSNqgAA/nrGvbz51M43zGpoI3nuFmIYnrPaEhx1GkN1LNdKjhTrZKZ0u3CHrRcOwEj1ZXg/RRbuFCu4ART0A6gxDD1wFW6sLwmvqIN9i2Ewf/ObjJjOz1zIBuYkzjnqEJ7h9k1Bth4eZWHu+xzwI62Mk50thxbzHHU+YdW2aZc7MvF3SZ7NVziKdsQqh8BIDUfhBDfssd4aKlMpHHMi06jw545/SZGWHHBtrYqZvMtKjqfnO3OH/IYXegowWbH9KhWOg2p3oDIo0Cv/AedG6TXoDXhK+e+D6CKYwCDphpDKUoUQmlRRz2bEIHgqzYX0Me2m8so/XrR7Ga5/yj0KsNSRumU0qrYeU946/oO3mxevNWSu5Bq506z/6ioM4FblcmVQvfsGF026ahbb6wFBqt5hN5N+9HnOgV70UYbBt1P5M1fKmFwZCNJHwf6A1JgWiZqcxyNV+EVyJS/HI34F+c3t0pyUXBLRGRQ+4Abw3ieQDO1/8j0V51rdWVESMxlVULvxlXpyQhwoyX3Vx5VmQUzGy51yWqbruZ27gfg/qj3dYFEWcFcgBMSWfhbTu9GZy+u+vLTvN66qJqHMKstgjVssVG4WIDmyuA8s2WrlCkbiTfy+OUsPc8pUt/MD+pLCx65DkJ5o+FJ+MQi6ddGxwNdqi09cVN1swT50HOjn84Lzf4XtpXBo+F+KfXQlHYZczjamfxPGw0O7hDKyrsu8DrmDm2b1aCdcSVp6lVYUyERwsVWBNE0klbd7qos+FTgf3v1ocb9IdSHoiS1adBOZRIMhlaIMufAtmZ6/y/xtavbdINbG8L4+H3IznNbQTWmIyZntC/tF/bj3VP6kL3H/pLxNYAJbV9sMievjXq0joCusy+NAh+a9CC2w4zbMpLE/PcetegefrVs/NySJDvGHe3ctZVzwEjshRQyDxA3mB9xqyFlLzlPyUY9LHamnaQT91iG6swX6rj4IiuSvcw/aoMnOPUYpoUMMVQeKJzUHyi/kMHFkAZZaRuPjez74ChlHJn4/x7gmuABOmbrGrnd9foS7kJ+/hbnC2cynnD0aEhruGSOBJXg/+i3VVjtOkEpglvz8qlcoKvts+0xiYEq4OLcTgZw7CCGXDEJLBD8XBi+ycnGfWXyfIawbTNAJtBx7e4+mxqNGEKuizJ4z3fIQbVjA0qI+SHz3KT9R+RG+Hmv80x1O1VuBabYMfZNChYzZVUbIsdlZm8ot2cFCviPOvgS18+i7kVCHp/Brz30wvboK310BEdZ9iObj15NSSzewJFxGySdXoTWbUQ9KLgnxEtrvGQ4+10ITib/CGwvWoUjvJCMZDbV6s9ziPvm7+AnzViWFd6lxz0ZOEc711za4OR0MBMNFi5Zifdko+4pmhDrizLf7V3EEgHTBr+UDxZW8Ze5TGimQYQRM6kyzobfXmWWgDbE/7ngMLl4ZLDi0B2QthERbahH33iRAdEw+jpsNSZUf16asWakvuHrOOkxenQNa3+vrcf8DczXiQy8LNjp5VLDMw3Ouwf9VcKD2X7sZMndgSYHgd2r6Y6aCG3bwfXlFrEtkDVc9Qzk7I8TSpByfcMr1vfH3KXww2fdZp/9qAkxB+DsUDKga/JKFchcYz+p+aUZ5HC5j/+GGR3h2ILgtPrNK4pnBW6PPrpM6Y6EeeO/gjYo0o1ADx83otdzBMZn03L9RiiZrrC91ffMS4CT+QU4x9OJm7pVhXAYmoDP4gZ+oOp8zc7BY5IbasfT0rz6e2W8dzsRwbDQHVV9k/v/JA7QNBAk8dXXXTLlgTDhEgy8E29MEr5OGH6xUmP8PvGDiRhqEzBkCw8brDOdz71PjaY6n+ZVGmWi/4DHAoa0+qtLwEagzAtA5u25jCXRC7UebpvDAFJmPa6w5tY/0g8w6CR99dRXEEJQJ7+IMrDIOzb4uM/q3h9S7cnhmqJANp/RBm2IdqPIyxyY+vcsBoyjBF1wBuM9wPc1eGQqOste9LcJktk9qKpq9FWnsDXZ06TDqoh67tU+e0hIGwr/ViQsu9UVEvpZMaa1J+ThzQa9GstaSFjfA3xs04HoWhmMYaewZzWPAiYu/Zi4k4M0ESOZmQCiqWu5WXvZfS5S48S09QUdVyEVSm4VpjArynImo5CvaEHtsMA1x1GNvjhG95/Dv3yD9J1t4rMaJ5JSPppezKChNoG3Fj0k7t9P9e+pyWAdy2xuPHqPSPIiUfTzQBANOP84NqmTgk49+QuB2TtrYEPmVEu9vDAmOtxyQ/G7ADOvYp1O6IJT6FmPjiovqm4NLwf5gqFbUNqAGALNljBm6yFc6D66K65LqSS4bxB0QavDPfj/0LUoB3j94wJMGDb+wdJsaaH8Z4sV0Keq0LHLbw3GqtxtiqRAXw8nNQ4U1i9RaOWBlfg7spj8HA5dDZ7vfpD+eBFAB0PXv/dHwCx0EuwfDfUzVps2IIXk8CMI3dR47XZgRHvpNYBKb8sQI+2xkzVv7u5Np+9BpI80jBeJF5mkkx/+djT7EueVKrb8Vha120Y/RO8TmB3z2lfGQ3eUDMQ/994v830+Mosszuwc16tBPEfom5PuBbfkpsYFJFn8pW7xGlWRsSrlhb83n3cFYDGGfUflbdCg/oN4cSwaXKAMcy2B6//z3Ue96YT1elyZQLxGVwzR/FfmzC+VBboz1XwgUXpVxsyfnuvPwMQCcR3NdbZEqzAhK91v3J+1+/fh/jr6mIkLw034m7XNiPyMDG6TPXBDz51Muo+7WQpMGomwt1O3BhskI5Xa9cRlplxBZduBr1MYO0rzbuE0gVGQZdMoHST+8hwPgN0QDoMwNGVpRCsOOej0PH2xIchAs4mF9gpYbFrUVRqgSNFZgQD+jJrLKybrAdwlc9T0ip2DUwoDbSHj9XYgH+WtewAmuUpP+3rDwPKKv0/jnClWicgmkaijTOXF/qFRN4z2Tpy2gUT4pnGdVAXPgsIgBZw0b4khRaMdr2ZyTx3/sjKdVTfzgQdoGV0KT4AOVV3jRJfCf7Q5H2BcCEqIKp6GvAdRQ+PTnMQ0BHSb7+/XqqBswj+AdqUchmIb4C7cK1jDYwc+Kfs6CqK7YpHoZG+zbOnGqMhwLLg3JlF060euIasde8rEc9lRRsi4OGp2uKovqyNJawiWfXQp8iY7mef63uua7nBuFGLmKx23EJFacxLWuHQGNtIquAd3UrpKBQ2Jnn/PyQalGGsVEEeWXQ8oG8ykQ3WnJKXEYGlBzcZVrZt7RMzQDSJCVcL/KjF2GfXbBjuBjMFhjClrm0LXf+XI6xFRkim8eAWBLqEeMjpnpaIvDnN4xTYYZEowQyqIqq3sDvqWttRgLY4h8aLDVzBMLEAxD0nyBPv7qGBy/ZMuzHzXUmDR96xGfjoIInXAi2slZoHoP8mqaxciJBFTkyfvnchtPaHsAmn2byz7gEpreAA9ryhIVEKfyE90lduE84gdIbXuj0YYR+HZg1FsD5RrVVTqQDv0q38rGjg73J4funt5QkQE1QJXkvG7tMoXW+cmSXZbee8na40Z59a72RcvoIcslMj6+UgXMG58WSe7R9871oEDSyY1XvjAtC7SLedzTziA34JzzJaa1qFpQUaoNg5FUucLXxoBTphbtVQqyDiFcwpAQnYCVWtndVwsNVBGKClErT8zf4X+AO+lVLathikI7aR/ER0AWH65DnKVmmuv0+Ky+Hx/b/tTM7co3H4Xm18zj3uV00Dw+1YszVo9sHA+lA9mBfoFMIzjN6uRpr6vMCYcfXK8nPBzxx8BrZdrpWA83KDEmItAaWZvA9fMuo0Gvx7xUWEu/UVCWHUIOnRbUkowRxGT+GJArRrJInuLAp9OYzsm8knGvwkkNISIjamyChSjymSd5jS7BmGbPG5Ew9WSDLWvXYZEH+gnbhV+sZ7Dkq2ha04REl0O/aqawBqb0TXmwgyd1bz5BO7ya/dej25o0UlZr17F7U+KCB/u4uJ0CSrEuDYdqpFMl/5RZFYKxo6vFfdEJy4QonmbSINYX/Ns+O3AiXuH/q8Me2Lixng5uDlzXfwIirdw0uuG61AS8Gx6MInazttxYI52hK/yFtGnyPccYwEAFWlvE+6CFfCeCcSte9RYPWm0mbNhlSI89YEBgl105gg8vPKFHkXXoUv5UWekDbXlZHVB0ao58b7pj5tzVoRhNmOuJzvxPb2MRgzUuXp0AsCetUqrYjdDdpT3OE+3lImn5BTjyoFi+Bm8OmzrX4aBfCovUvEzphTX4ggwZg5FUTKv4g2tspQDH6S4a5GDQT2oBjZyJ4Uck6TVsSmA/iZ1tHHUv+KVCrJqk4HBQ0YfNmu6l7OPJQhLEbSdFkNCT7vTCii2XBKXHpiFyjUZFt/y0GHO16bHCQixOL5BEke7btxoHf98Irm0pGaepsVardtOkofNmkBJpjkdcU9IYmBTGWs/UJh2vhT5UBr9lYhJumC9qYLUeYAL9uSDhKGlSn5lNNAxSveK166sk7yWrNdAVVk4jm28ml6KEQAuVR2fW0ub3QK3pAqANnXvtv6Mbm/D2gvob9HW+kLzr16T+xCS8MPKVh+J2oX3UN9whjgQPHde8RF89z1mQwm/Cq/zoYmBS0Wimxc97beXa9rvoTBKMoO/CaXyzYpvQJc8SFmkrQoC63rNfDY0ps9vXnnCiEfBfUr4RMv8RMF2fzFfnx/n7LLxIIYl/+EExFBnuUxLlPsu/Uv5viKLztCBzuUYaTeP13NXegcTkERee+aDEGphbir59M3twvGkLIpKZhWMpKM30xbNqlHkZ6pYC4Aq4PFnIvfrvOeIWvPQShdStuz87DxY7g" title="Mekko Graphics Chart">
            <a:extLst>
              <a:ext uri="{FF2B5EF4-FFF2-40B4-BE49-F238E27FC236}">
                <a16:creationId xmlns:a16="http://schemas.microsoft.com/office/drawing/2014/main" id="{DD351923-AAC1-EC85-A5C3-C3A28517E7E7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8383554" y="1401005"/>
            <a:ext cx="3461916" cy="5672815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43" name="btfpColumnHeaderBox424384">
            <a:extLst>
              <a:ext uri="{FF2B5EF4-FFF2-40B4-BE49-F238E27FC236}">
                <a16:creationId xmlns:a16="http://schemas.microsoft.com/office/drawing/2014/main" id="{F9C9A1C1-967D-98F2-4F14-491FD4FD2C5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378297" y="1348144"/>
            <a:ext cx="3478742" cy="285433"/>
            <a:chOff x="330200" y="1009470"/>
            <a:chExt cx="11531600" cy="56890"/>
          </a:xfrm>
        </p:grpSpPr>
        <p:sp>
          <p:nvSpPr>
            <p:cNvPr id="44" name="btfpColumnHeaderBoxText424384">
              <a:extLst>
                <a:ext uri="{FF2B5EF4-FFF2-40B4-BE49-F238E27FC236}">
                  <a16:creationId xmlns:a16="http://schemas.microsoft.com/office/drawing/2014/main" id="{0C0FE3A2-CA5B-EAFE-A459-A030815A3C52}"/>
                </a:ext>
              </a:extLst>
            </p:cNvPr>
            <p:cNvSpPr txBox="1"/>
            <p:nvPr/>
          </p:nvSpPr>
          <p:spPr bwMode="gray">
            <a:xfrm>
              <a:off x="330200" y="1009470"/>
              <a:ext cx="11531600" cy="56890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kumimoji="1" lang="en-US" altLang="ja-JP" sz="1400" b="1">
                  <a:solidFill>
                    <a:srgbClr val="000000"/>
                  </a:solidFill>
                </a:rPr>
                <a:t>Social media is the preferred channel</a:t>
              </a:r>
              <a:endParaRPr kumimoji="1" lang="en-US" altLang="ja-JP" sz="1400" b="1">
                <a:solidFill>
                  <a:srgbClr val="CC0000"/>
                </a:solidFill>
              </a:endParaRPr>
            </a:p>
          </p:txBody>
        </p:sp>
        <p:cxnSp>
          <p:nvCxnSpPr>
            <p:cNvPr id="45" name="btfpColumnHeaderBoxLine424384">
              <a:extLst>
                <a:ext uri="{FF2B5EF4-FFF2-40B4-BE49-F238E27FC236}">
                  <a16:creationId xmlns:a16="http://schemas.microsoft.com/office/drawing/2014/main" id="{76AC0C6D-B42F-7218-9415-43030ED93010}"/>
                </a:ext>
              </a:extLst>
            </p:cNvPr>
            <p:cNvCxnSpPr/>
            <p:nvPr/>
          </p:nvCxnSpPr>
          <p:spPr bwMode="gray">
            <a:xfrm>
              <a:off x="330200" y="1066360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15105E19-71E7-57E2-698B-C29657B63B3A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4428"/>
            <a:ext cx="258172" cy="257443"/>
          </a:xfrm>
          <a:prstGeom prst="rect">
            <a:avLst/>
          </a:prstGeom>
        </p:spPr>
      </p:pic>
      <p:grpSp>
        <p:nvGrpSpPr>
          <p:cNvPr id="53" name="btfpRunningAgenda1Level392144">
            <a:extLst>
              <a:ext uri="{FF2B5EF4-FFF2-40B4-BE49-F238E27FC236}">
                <a16:creationId xmlns:a16="http://schemas.microsoft.com/office/drawing/2014/main" id="{1B91A4B1-4C45-78B5-6A26-1E9CDEED1E0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-1" y="944429"/>
            <a:ext cx="2781431" cy="257442"/>
            <a:chOff x="-1" y="876300"/>
            <a:chExt cx="2781431" cy="257442"/>
          </a:xfrm>
        </p:grpSpPr>
        <p:sp>
          <p:nvSpPr>
            <p:cNvPr id="54" name="btfpRunningAgenda1LevelBarLeft392144">
              <a:extLst>
                <a:ext uri="{FF2B5EF4-FFF2-40B4-BE49-F238E27FC236}">
                  <a16:creationId xmlns:a16="http://schemas.microsoft.com/office/drawing/2014/main" id="{FB94ECD8-0A6F-BAFC-CD2B-5C680AE66606}"/>
                </a:ext>
              </a:extLst>
            </p:cNvPr>
            <p:cNvSpPr/>
            <p:nvPr/>
          </p:nvSpPr>
          <p:spPr bwMode="gray">
            <a:xfrm>
              <a:off x="-1" y="876300"/>
              <a:ext cx="2781431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247356 w 1247356"/>
                <a:gd name="connsiteY0" fmla="*/ 0 h 257442"/>
                <a:gd name="connsiteX1" fmla="*/ 888065 w 1247356"/>
                <a:gd name="connsiteY1" fmla="*/ 257442 h 257442"/>
                <a:gd name="connsiteX2" fmla="*/ 0 w 1247356"/>
                <a:gd name="connsiteY2" fmla="*/ 257442 h 257442"/>
                <a:gd name="connsiteX3" fmla="*/ 0 w 1247356"/>
                <a:gd name="connsiteY3" fmla="*/ 0 h 257442"/>
                <a:gd name="connsiteX0" fmla="*/ 1247356 w 1247356"/>
                <a:gd name="connsiteY0" fmla="*/ 0 h 257442"/>
                <a:gd name="connsiteX1" fmla="*/ 1192634 w 1247356"/>
                <a:gd name="connsiteY1" fmla="*/ 257442 h 257442"/>
                <a:gd name="connsiteX2" fmla="*/ 0 w 1247356"/>
                <a:gd name="connsiteY2" fmla="*/ 257442 h 257442"/>
                <a:gd name="connsiteX3" fmla="*/ 0 w 1247356"/>
                <a:gd name="connsiteY3" fmla="*/ 0 h 257442"/>
                <a:gd name="connsiteX0" fmla="*/ 1247357 w 1247357"/>
                <a:gd name="connsiteY0" fmla="*/ 0 h 257442"/>
                <a:gd name="connsiteX1" fmla="*/ 1192635 w 1247357"/>
                <a:gd name="connsiteY1" fmla="*/ 257442 h 257442"/>
                <a:gd name="connsiteX2" fmla="*/ 0 w 1247357"/>
                <a:gd name="connsiteY2" fmla="*/ 257442 h 257442"/>
                <a:gd name="connsiteX3" fmla="*/ 1 w 1247357"/>
                <a:gd name="connsiteY3" fmla="*/ 0 h 257442"/>
                <a:gd name="connsiteX0" fmla="*/ 1247357 w 1247357"/>
                <a:gd name="connsiteY0" fmla="*/ 0 h 257442"/>
                <a:gd name="connsiteX1" fmla="*/ 1192635 w 1247357"/>
                <a:gd name="connsiteY1" fmla="*/ 257442 h 257442"/>
                <a:gd name="connsiteX2" fmla="*/ 0 w 1247357"/>
                <a:gd name="connsiteY2" fmla="*/ 257442 h 257442"/>
                <a:gd name="connsiteX3" fmla="*/ 1 w 1247357"/>
                <a:gd name="connsiteY3" fmla="*/ 0 h 257442"/>
                <a:gd name="connsiteX0" fmla="*/ 1407657 w 1407657"/>
                <a:gd name="connsiteY0" fmla="*/ 0 h 257442"/>
                <a:gd name="connsiteX1" fmla="*/ 1192635 w 1407657"/>
                <a:gd name="connsiteY1" fmla="*/ 257442 h 257442"/>
                <a:gd name="connsiteX2" fmla="*/ 0 w 1407657"/>
                <a:gd name="connsiteY2" fmla="*/ 257442 h 257442"/>
                <a:gd name="connsiteX3" fmla="*/ 1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0 w 1407657"/>
                <a:gd name="connsiteY2" fmla="*/ 257442 h 257442"/>
                <a:gd name="connsiteX3" fmla="*/ 1 w 1407657"/>
                <a:gd name="connsiteY3" fmla="*/ 0 h 257442"/>
                <a:gd name="connsiteX0" fmla="*/ 1407656 w 1407656"/>
                <a:gd name="connsiteY0" fmla="*/ 0 h 257442"/>
                <a:gd name="connsiteX1" fmla="*/ 1352935 w 1407656"/>
                <a:gd name="connsiteY1" fmla="*/ 257442 h 257442"/>
                <a:gd name="connsiteX2" fmla="*/ 0 w 1407656"/>
                <a:gd name="connsiteY2" fmla="*/ 257442 h 257442"/>
                <a:gd name="connsiteX3" fmla="*/ 0 w 1407656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575973 w 1575973"/>
                <a:gd name="connsiteY0" fmla="*/ 0 h 257442"/>
                <a:gd name="connsiteX1" fmla="*/ 1352936 w 1575973"/>
                <a:gd name="connsiteY1" fmla="*/ 257442 h 257442"/>
                <a:gd name="connsiteX2" fmla="*/ 1 w 1575973"/>
                <a:gd name="connsiteY2" fmla="*/ 257442 h 257442"/>
                <a:gd name="connsiteX3" fmla="*/ 0 w 1575973"/>
                <a:gd name="connsiteY3" fmla="*/ 0 h 257442"/>
                <a:gd name="connsiteX0" fmla="*/ 1575973 w 1575973"/>
                <a:gd name="connsiteY0" fmla="*/ 0 h 257442"/>
                <a:gd name="connsiteX1" fmla="*/ 1521252 w 1575973"/>
                <a:gd name="connsiteY1" fmla="*/ 257442 h 257442"/>
                <a:gd name="connsiteX2" fmla="*/ 1 w 1575973"/>
                <a:gd name="connsiteY2" fmla="*/ 257442 h 257442"/>
                <a:gd name="connsiteX3" fmla="*/ 0 w 1575973"/>
                <a:gd name="connsiteY3" fmla="*/ 0 h 257442"/>
                <a:gd name="connsiteX0" fmla="*/ 1575973 w 1575973"/>
                <a:gd name="connsiteY0" fmla="*/ 0 h 257442"/>
                <a:gd name="connsiteX1" fmla="*/ 1521252 w 1575973"/>
                <a:gd name="connsiteY1" fmla="*/ 257442 h 257442"/>
                <a:gd name="connsiteX2" fmla="*/ 1 w 1575973"/>
                <a:gd name="connsiteY2" fmla="*/ 257442 h 257442"/>
                <a:gd name="connsiteX3" fmla="*/ 0 w 1575973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407655 w 1521251"/>
                <a:gd name="connsiteY0" fmla="*/ 0 h 257442"/>
                <a:gd name="connsiteX1" fmla="*/ 1521251 w 1521251"/>
                <a:gd name="connsiteY1" fmla="*/ 257442 h 257442"/>
                <a:gd name="connsiteX2" fmla="*/ 0 w 1521251"/>
                <a:gd name="connsiteY2" fmla="*/ 257442 h 257442"/>
                <a:gd name="connsiteX3" fmla="*/ 0 w 1521251"/>
                <a:gd name="connsiteY3" fmla="*/ 0 h 257442"/>
                <a:gd name="connsiteX0" fmla="*/ 1407655 w 1407655"/>
                <a:gd name="connsiteY0" fmla="*/ 0 h 257442"/>
                <a:gd name="connsiteX1" fmla="*/ 1352935 w 1407655"/>
                <a:gd name="connsiteY1" fmla="*/ 257442 h 257442"/>
                <a:gd name="connsiteX2" fmla="*/ 0 w 1407655"/>
                <a:gd name="connsiteY2" fmla="*/ 257442 h 257442"/>
                <a:gd name="connsiteX3" fmla="*/ 0 w 1407655"/>
                <a:gd name="connsiteY3" fmla="*/ 0 h 257442"/>
                <a:gd name="connsiteX0" fmla="*/ 1407655 w 1407655"/>
                <a:gd name="connsiteY0" fmla="*/ 0 h 257442"/>
                <a:gd name="connsiteX1" fmla="*/ 1352935 w 1407655"/>
                <a:gd name="connsiteY1" fmla="*/ 257442 h 257442"/>
                <a:gd name="connsiteX2" fmla="*/ 0 w 1407655"/>
                <a:gd name="connsiteY2" fmla="*/ 257442 h 257442"/>
                <a:gd name="connsiteX3" fmla="*/ 0 w 1407655"/>
                <a:gd name="connsiteY3" fmla="*/ 0 h 257442"/>
                <a:gd name="connsiteX0" fmla="*/ 1407655 w 1407655"/>
                <a:gd name="connsiteY0" fmla="*/ 0 h 257442"/>
                <a:gd name="connsiteX1" fmla="*/ 1352935 w 1407655"/>
                <a:gd name="connsiteY1" fmla="*/ 257442 h 257442"/>
                <a:gd name="connsiteX2" fmla="*/ 0 w 1407655"/>
                <a:gd name="connsiteY2" fmla="*/ 257442 h 257442"/>
                <a:gd name="connsiteX3" fmla="*/ 0 w 1407655"/>
                <a:gd name="connsiteY3" fmla="*/ 0 h 257442"/>
                <a:gd name="connsiteX0" fmla="*/ 1575972 w 1575972"/>
                <a:gd name="connsiteY0" fmla="*/ 0 h 257442"/>
                <a:gd name="connsiteX1" fmla="*/ 1352935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829248 w 1829248"/>
                <a:gd name="connsiteY0" fmla="*/ 0 h 257442"/>
                <a:gd name="connsiteX1" fmla="*/ 1521251 w 1829248"/>
                <a:gd name="connsiteY1" fmla="*/ 257442 h 257442"/>
                <a:gd name="connsiteX2" fmla="*/ 0 w 1829248"/>
                <a:gd name="connsiteY2" fmla="*/ 257442 h 257442"/>
                <a:gd name="connsiteX3" fmla="*/ 1 w 1829248"/>
                <a:gd name="connsiteY3" fmla="*/ 0 h 257442"/>
                <a:gd name="connsiteX0" fmla="*/ 1829248 w 1829248"/>
                <a:gd name="connsiteY0" fmla="*/ 0 h 257442"/>
                <a:gd name="connsiteX1" fmla="*/ 1774526 w 1829248"/>
                <a:gd name="connsiteY1" fmla="*/ 257442 h 257442"/>
                <a:gd name="connsiteX2" fmla="*/ 0 w 1829248"/>
                <a:gd name="connsiteY2" fmla="*/ 257442 h 257442"/>
                <a:gd name="connsiteX3" fmla="*/ 1 w 1829248"/>
                <a:gd name="connsiteY3" fmla="*/ 0 h 257442"/>
                <a:gd name="connsiteX0" fmla="*/ 1829248 w 1829248"/>
                <a:gd name="connsiteY0" fmla="*/ 0 h 257442"/>
                <a:gd name="connsiteX1" fmla="*/ 1774526 w 1829248"/>
                <a:gd name="connsiteY1" fmla="*/ 257442 h 257442"/>
                <a:gd name="connsiteX2" fmla="*/ 0 w 1829248"/>
                <a:gd name="connsiteY2" fmla="*/ 257442 h 257442"/>
                <a:gd name="connsiteX3" fmla="*/ 1 w 1829248"/>
                <a:gd name="connsiteY3" fmla="*/ 0 h 257442"/>
                <a:gd name="connsiteX0" fmla="*/ 1829248 w 1829248"/>
                <a:gd name="connsiteY0" fmla="*/ 0 h 257442"/>
                <a:gd name="connsiteX1" fmla="*/ 1774526 w 1829248"/>
                <a:gd name="connsiteY1" fmla="*/ 257442 h 257442"/>
                <a:gd name="connsiteX2" fmla="*/ 0 w 1829248"/>
                <a:gd name="connsiteY2" fmla="*/ 257442 h 257442"/>
                <a:gd name="connsiteX3" fmla="*/ 0 w 1829248"/>
                <a:gd name="connsiteY3" fmla="*/ 0 h 257442"/>
                <a:gd name="connsiteX0" fmla="*/ 1989547 w 1989547"/>
                <a:gd name="connsiteY0" fmla="*/ 0 h 257442"/>
                <a:gd name="connsiteX1" fmla="*/ 17745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436784 w 2436784"/>
                <a:gd name="connsiteY0" fmla="*/ 0 h 257442"/>
                <a:gd name="connsiteX1" fmla="*/ 2095126 w 2436784"/>
                <a:gd name="connsiteY1" fmla="*/ 257442 h 257442"/>
                <a:gd name="connsiteX2" fmla="*/ 0 w 2436784"/>
                <a:gd name="connsiteY2" fmla="*/ 257442 h 257442"/>
                <a:gd name="connsiteX3" fmla="*/ 0 w 2436784"/>
                <a:gd name="connsiteY3" fmla="*/ 0 h 257442"/>
                <a:gd name="connsiteX0" fmla="*/ 2436784 w 2436784"/>
                <a:gd name="connsiteY0" fmla="*/ 0 h 257442"/>
                <a:gd name="connsiteX1" fmla="*/ 2382062 w 2436784"/>
                <a:gd name="connsiteY1" fmla="*/ 257442 h 257442"/>
                <a:gd name="connsiteX2" fmla="*/ 0 w 2436784"/>
                <a:gd name="connsiteY2" fmla="*/ 257442 h 257442"/>
                <a:gd name="connsiteX3" fmla="*/ 0 w 2436784"/>
                <a:gd name="connsiteY3" fmla="*/ 0 h 257442"/>
                <a:gd name="connsiteX0" fmla="*/ 2436785 w 2436785"/>
                <a:gd name="connsiteY0" fmla="*/ 0 h 257442"/>
                <a:gd name="connsiteX1" fmla="*/ 2382063 w 2436785"/>
                <a:gd name="connsiteY1" fmla="*/ 257442 h 257442"/>
                <a:gd name="connsiteX2" fmla="*/ 0 w 2436785"/>
                <a:gd name="connsiteY2" fmla="*/ 257442 h 257442"/>
                <a:gd name="connsiteX3" fmla="*/ 1 w 2436785"/>
                <a:gd name="connsiteY3" fmla="*/ 0 h 257442"/>
                <a:gd name="connsiteX0" fmla="*/ 2436785 w 2436785"/>
                <a:gd name="connsiteY0" fmla="*/ 0 h 257442"/>
                <a:gd name="connsiteX1" fmla="*/ 2382063 w 2436785"/>
                <a:gd name="connsiteY1" fmla="*/ 257442 h 257442"/>
                <a:gd name="connsiteX2" fmla="*/ 0 w 2436785"/>
                <a:gd name="connsiteY2" fmla="*/ 257442 h 257442"/>
                <a:gd name="connsiteX3" fmla="*/ 1 w 2436785"/>
                <a:gd name="connsiteY3" fmla="*/ 0 h 257442"/>
                <a:gd name="connsiteX0" fmla="*/ 2597086 w 2597086"/>
                <a:gd name="connsiteY0" fmla="*/ 0 h 257442"/>
                <a:gd name="connsiteX1" fmla="*/ 2382063 w 2597086"/>
                <a:gd name="connsiteY1" fmla="*/ 257442 h 257442"/>
                <a:gd name="connsiteX2" fmla="*/ 0 w 2597086"/>
                <a:gd name="connsiteY2" fmla="*/ 257442 h 257442"/>
                <a:gd name="connsiteX3" fmla="*/ 1 w 2597086"/>
                <a:gd name="connsiteY3" fmla="*/ 0 h 257442"/>
                <a:gd name="connsiteX0" fmla="*/ 2597086 w 2597086"/>
                <a:gd name="connsiteY0" fmla="*/ 0 h 257442"/>
                <a:gd name="connsiteX1" fmla="*/ 2542364 w 2597086"/>
                <a:gd name="connsiteY1" fmla="*/ 257442 h 257442"/>
                <a:gd name="connsiteX2" fmla="*/ 0 w 2597086"/>
                <a:gd name="connsiteY2" fmla="*/ 257442 h 257442"/>
                <a:gd name="connsiteX3" fmla="*/ 1 w 2597086"/>
                <a:gd name="connsiteY3" fmla="*/ 0 h 257442"/>
                <a:gd name="connsiteX0" fmla="*/ 2597086 w 2597086"/>
                <a:gd name="connsiteY0" fmla="*/ 0 h 257442"/>
                <a:gd name="connsiteX1" fmla="*/ 2542364 w 2597086"/>
                <a:gd name="connsiteY1" fmla="*/ 257442 h 257442"/>
                <a:gd name="connsiteX2" fmla="*/ 0 w 2597086"/>
                <a:gd name="connsiteY2" fmla="*/ 257442 h 257442"/>
                <a:gd name="connsiteX3" fmla="*/ 1 w 2597086"/>
                <a:gd name="connsiteY3" fmla="*/ 0 h 257442"/>
                <a:gd name="connsiteX0" fmla="*/ 2597086 w 2597086"/>
                <a:gd name="connsiteY0" fmla="*/ 0 h 257442"/>
                <a:gd name="connsiteX1" fmla="*/ 2542364 w 2597086"/>
                <a:gd name="connsiteY1" fmla="*/ 257442 h 257442"/>
                <a:gd name="connsiteX2" fmla="*/ 0 w 2597086"/>
                <a:gd name="connsiteY2" fmla="*/ 257442 h 257442"/>
                <a:gd name="connsiteX3" fmla="*/ 0 w 2597086"/>
                <a:gd name="connsiteY3" fmla="*/ 0 h 257442"/>
                <a:gd name="connsiteX0" fmla="*/ 2765400 w 2765400"/>
                <a:gd name="connsiteY0" fmla="*/ 0 h 257442"/>
                <a:gd name="connsiteX1" fmla="*/ 2542364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2765400 w 2765400"/>
                <a:gd name="connsiteY0" fmla="*/ 0 h 257442"/>
                <a:gd name="connsiteX1" fmla="*/ 2710679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2765400 w 2765400"/>
                <a:gd name="connsiteY0" fmla="*/ 0 h 257442"/>
                <a:gd name="connsiteX1" fmla="*/ 2710679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2765400 w 2765400"/>
                <a:gd name="connsiteY0" fmla="*/ 0 h 257442"/>
                <a:gd name="connsiteX1" fmla="*/ 2710679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3034705 w 3034705"/>
                <a:gd name="connsiteY0" fmla="*/ 0 h 257442"/>
                <a:gd name="connsiteX1" fmla="*/ 2710679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034705 w 3034705"/>
                <a:gd name="connsiteY0" fmla="*/ 0 h 257442"/>
                <a:gd name="connsiteX1" fmla="*/ 2979984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034705 w 3034705"/>
                <a:gd name="connsiteY0" fmla="*/ 0 h 257442"/>
                <a:gd name="connsiteX1" fmla="*/ 2979984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034705 w 3034705"/>
                <a:gd name="connsiteY0" fmla="*/ 0 h 257442"/>
                <a:gd name="connsiteX1" fmla="*/ 2979984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290288 w 3290288"/>
                <a:gd name="connsiteY0" fmla="*/ 0 h 257442"/>
                <a:gd name="connsiteX1" fmla="*/ 2979984 w 3290288"/>
                <a:gd name="connsiteY1" fmla="*/ 257442 h 257442"/>
                <a:gd name="connsiteX2" fmla="*/ 0 w 3290288"/>
                <a:gd name="connsiteY2" fmla="*/ 257442 h 257442"/>
                <a:gd name="connsiteX3" fmla="*/ 0 w 3290288"/>
                <a:gd name="connsiteY3" fmla="*/ 0 h 257442"/>
                <a:gd name="connsiteX0" fmla="*/ 3290288 w 3290288"/>
                <a:gd name="connsiteY0" fmla="*/ 0 h 257442"/>
                <a:gd name="connsiteX1" fmla="*/ 3235566 w 3290288"/>
                <a:gd name="connsiteY1" fmla="*/ 257442 h 257442"/>
                <a:gd name="connsiteX2" fmla="*/ 0 w 3290288"/>
                <a:gd name="connsiteY2" fmla="*/ 257442 h 257442"/>
                <a:gd name="connsiteX3" fmla="*/ 0 w 3290288"/>
                <a:gd name="connsiteY3" fmla="*/ 0 h 257442"/>
                <a:gd name="connsiteX0" fmla="*/ 3290289 w 3290289"/>
                <a:gd name="connsiteY0" fmla="*/ 0 h 257442"/>
                <a:gd name="connsiteX1" fmla="*/ 3235567 w 3290289"/>
                <a:gd name="connsiteY1" fmla="*/ 257442 h 257442"/>
                <a:gd name="connsiteX2" fmla="*/ 0 w 3290289"/>
                <a:gd name="connsiteY2" fmla="*/ 257442 h 257442"/>
                <a:gd name="connsiteX3" fmla="*/ 1 w 3290289"/>
                <a:gd name="connsiteY3" fmla="*/ 0 h 257442"/>
                <a:gd name="connsiteX0" fmla="*/ 3290289 w 3290289"/>
                <a:gd name="connsiteY0" fmla="*/ 0 h 257442"/>
                <a:gd name="connsiteX1" fmla="*/ 3235567 w 3290289"/>
                <a:gd name="connsiteY1" fmla="*/ 257442 h 257442"/>
                <a:gd name="connsiteX2" fmla="*/ 0 w 3290289"/>
                <a:gd name="connsiteY2" fmla="*/ 257442 h 257442"/>
                <a:gd name="connsiteX3" fmla="*/ 1 w 3290289"/>
                <a:gd name="connsiteY3" fmla="*/ 0 h 257442"/>
                <a:gd name="connsiteX0" fmla="*/ 3450589 w 3450589"/>
                <a:gd name="connsiteY0" fmla="*/ 0 h 257442"/>
                <a:gd name="connsiteX1" fmla="*/ 3235567 w 3450589"/>
                <a:gd name="connsiteY1" fmla="*/ 257442 h 257442"/>
                <a:gd name="connsiteX2" fmla="*/ 0 w 3450589"/>
                <a:gd name="connsiteY2" fmla="*/ 257442 h 257442"/>
                <a:gd name="connsiteX3" fmla="*/ 1 w 3450589"/>
                <a:gd name="connsiteY3" fmla="*/ 0 h 257442"/>
                <a:gd name="connsiteX0" fmla="*/ 3450589 w 3450589"/>
                <a:gd name="connsiteY0" fmla="*/ 0 h 257442"/>
                <a:gd name="connsiteX1" fmla="*/ 3395868 w 3450589"/>
                <a:gd name="connsiteY1" fmla="*/ 257442 h 257442"/>
                <a:gd name="connsiteX2" fmla="*/ 0 w 3450589"/>
                <a:gd name="connsiteY2" fmla="*/ 257442 h 257442"/>
                <a:gd name="connsiteX3" fmla="*/ 1 w 3450589"/>
                <a:gd name="connsiteY3" fmla="*/ 0 h 257442"/>
                <a:gd name="connsiteX0" fmla="*/ 3450588 w 3450588"/>
                <a:gd name="connsiteY0" fmla="*/ 0 h 257442"/>
                <a:gd name="connsiteX1" fmla="*/ 3395867 w 3450588"/>
                <a:gd name="connsiteY1" fmla="*/ 257442 h 257442"/>
                <a:gd name="connsiteX2" fmla="*/ 0 w 3450588"/>
                <a:gd name="connsiteY2" fmla="*/ 257442 h 257442"/>
                <a:gd name="connsiteX3" fmla="*/ 0 w 3450588"/>
                <a:gd name="connsiteY3" fmla="*/ 0 h 257442"/>
                <a:gd name="connsiteX0" fmla="*/ 3450589 w 3450589"/>
                <a:gd name="connsiteY0" fmla="*/ 0 h 257442"/>
                <a:gd name="connsiteX1" fmla="*/ 3395868 w 3450589"/>
                <a:gd name="connsiteY1" fmla="*/ 257442 h 257442"/>
                <a:gd name="connsiteX2" fmla="*/ 1 w 3450589"/>
                <a:gd name="connsiteY2" fmla="*/ 257442 h 257442"/>
                <a:gd name="connsiteX3" fmla="*/ 0 w 3450589"/>
                <a:gd name="connsiteY3" fmla="*/ 0 h 257442"/>
                <a:gd name="connsiteX0" fmla="*/ 3610889 w 3610889"/>
                <a:gd name="connsiteY0" fmla="*/ 0 h 257442"/>
                <a:gd name="connsiteX1" fmla="*/ 3395868 w 3610889"/>
                <a:gd name="connsiteY1" fmla="*/ 257442 h 257442"/>
                <a:gd name="connsiteX2" fmla="*/ 1 w 3610889"/>
                <a:gd name="connsiteY2" fmla="*/ 257442 h 257442"/>
                <a:gd name="connsiteX3" fmla="*/ 0 w 3610889"/>
                <a:gd name="connsiteY3" fmla="*/ 0 h 257442"/>
                <a:gd name="connsiteX0" fmla="*/ 3610889 w 3610889"/>
                <a:gd name="connsiteY0" fmla="*/ 0 h 257442"/>
                <a:gd name="connsiteX1" fmla="*/ 3556168 w 3610889"/>
                <a:gd name="connsiteY1" fmla="*/ 257442 h 257442"/>
                <a:gd name="connsiteX2" fmla="*/ 1 w 3610889"/>
                <a:gd name="connsiteY2" fmla="*/ 257442 h 257442"/>
                <a:gd name="connsiteX3" fmla="*/ 0 w 3610889"/>
                <a:gd name="connsiteY3" fmla="*/ 0 h 257442"/>
                <a:gd name="connsiteX0" fmla="*/ 3610889 w 3610889"/>
                <a:gd name="connsiteY0" fmla="*/ 0 h 257442"/>
                <a:gd name="connsiteX1" fmla="*/ 3556168 w 3610889"/>
                <a:gd name="connsiteY1" fmla="*/ 257442 h 257442"/>
                <a:gd name="connsiteX2" fmla="*/ 1 w 3610889"/>
                <a:gd name="connsiteY2" fmla="*/ 257442 h 257442"/>
                <a:gd name="connsiteX3" fmla="*/ 0 w 3610889"/>
                <a:gd name="connsiteY3" fmla="*/ 0 h 257442"/>
                <a:gd name="connsiteX0" fmla="*/ 3610888 w 3610888"/>
                <a:gd name="connsiteY0" fmla="*/ 0 h 257442"/>
                <a:gd name="connsiteX1" fmla="*/ 3556167 w 3610888"/>
                <a:gd name="connsiteY1" fmla="*/ 257442 h 257442"/>
                <a:gd name="connsiteX2" fmla="*/ 0 w 3610888"/>
                <a:gd name="connsiteY2" fmla="*/ 257442 h 257442"/>
                <a:gd name="connsiteX3" fmla="*/ 0 w 3610888"/>
                <a:gd name="connsiteY3" fmla="*/ 0 h 257442"/>
                <a:gd name="connsiteX0" fmla="*/ 3779202 w 3779202"/>
                <a:gd name="connsiteY0" fmla="*/ 0 h 257442"/>
                <a:gd name="connsiteX1" fmla="*/ 3556167 w 3779202"/>
                <a:gd name="connsiteY1" fmla="*/ 257442 h 257442"/>
                <a:gd name="connsiteX2" fmla="*/ 0 w 3779202"/>
                <a:gd name="connsiteY2" fmla="*/ 257442 h 257442"/>
                <a:gd name="connsiteX3" fmla="*/ 0 w 3779202"/>
                <a:gd name="connsiteY3" fmla="*/ 0 h 257442"/>
                <a:gd name="connsiteX0" fmla="*/ 3779202 w 3779202"/>
                <a:gd name="connsiteY0" fmla="*/ 0 h 257442"/>
                <a:gd name="connsiteX1" fmla="*/ 3724481 w 3779202"/>
                <a:gd name="connsiteY1" fmla="*/ 257442 h 257442"/>
                <a:gd name="connsiteX2" fmla="*/ 0 w 3779202"/>
                <a:gd name="connsiteY2" fmla="*/ 257442 h 257442"/>
                <a:gd name="connsiteX3" fmla="*/ 0 w 3779202"/>
                <a:gd name="connsiteY3" fmla="*/ 0 h 257442"/>
                <a:gd name="connsiteX0" fmla="*/ 3779203 w 3779203"/>
                <a:gd name="connsiteY0" fmla="*/ 0 h 257442"/>
                <a:gd name="connsiteX1" fmla="*/ 3724482 w 3779203"/>
                <a:gd name="connsiteY1" fmla="*/ 257442 h 257442"/>
                <a:gd name="connsiteX2" fmla="*/ 0 w 3779203"/>
                <a:gd name="connsiteY2" fmla="*/ 257442 h 257442"/>
                <a:gd name="connsiteX3" fmla="*/ 1 w 3779203"/>
                <a:gd name="connsiteY3" fmla="*/ 0 h 257442"/>
                <a:gd name="connsiteX0" fmla="*/ 3779203 w 3779203"/>
                <a:gd name="connsiteY0" fmla="*/ 0 h 257442"/>
                <a:gd name="connsiteX1" fmla="*/ 3724482 w 3779203"/>
                <a:gd name="connsiteY1" fmla="*/ 257442 h 257442"/>
                <a:gd name="connsiteX2" fmla="*/ 0 w 3779203"/>
                <a:gd name="connsiteY2" fmla="*/ 257442 h 257442"/>
                <a:gd name="connsiteX3" fmla="*/ 1 w 3779203"/>
                <a:gd name="connsiteY3" fmla="*/ 0 h 257442"/>
                <a:gd name="connsiteX0" fmla="*/ 4099805 w 4099805"/>
                <a:gd name="connsiteY0" fmla="*/ 0 h 257442"/>
                <a:gd name="connsiteX1" fmla="*/ 3724482 w 4099805"/>
                <a:gd name="connsiteY1" fmla="*/ 257442 h 257442"/>
                <a:gd name="connsiteX2" fmla="*/ 0 w 4099805"/>
                <a:gd name="connsiteY2" fmla="*/ 257442 h 257442"/>
                <a:gd name="connsiteX3" fmla="*/ 1 w 4099805"/>
                <a:gd name="connsiteY3" fmla="*/ 0 h 257442"/>
                <a:gd name="connsiteX0" fmla="*/ 4099805 w 4099805"/>
                <a:gd name="connsiteY0" fmla="*/ 0 h 257442"/>
                <a:gd name="connsiteX1" fmla="*/ 4045084 w 4099805"/>
                <a:gd name="connsiteY1" fmla="*/ 257442 h 257442"/>
                <a:gd name="connsiteX2" fmla="*/ 0 w 4099805"/>
                <a:gd name="connsiteY2" fmla="*/ 257442 h 257442"/>
                <a:gd name="connsiteX3" fmla="*/ 1 w 4099805"/>
                <a:gd name="connsiteY3" fmla="*/ 0 h 257442"/>
                <a:gd name="connsiteX0" fmla="*/ 4099804 w 4099804"/>
                <a:gd name="connsiteY0" fmla="*/ 0 h 257442"/>
                <a:gd name="connsiteX1" fmla="*/ 4045083 w 4099804"/>
                <a:gd name="connsiteY1" fmla="*/ 257442 h 257442"/>
                <a:gd name="connsiteX2" fmla="*/ 0 w 4099804"/>
                <a:gd name="connsiteY2" fmla="*/ 257442 h 257442"/>
                <a:gd name="connsiteX3" fmla="*/ 0 w 4099804"/>
                <a:gd name="connsiteY3" fmla="*/ 0 h 257442"/>
                <a:gd name="connsiteX0" fmla="*/ 4099805 w 4099805"/>
                <a:gd name="connsiteY0" fmla="*/ 0 h 257442"/>
                <a:gd name="connsiteX1" fmla="*/ 4045084 w 4099805"/>
                <a:gd name="connsiteY1" fmla="*/ 257442 h 257442"/>
                <a:gd name="connsiteX2" fmla="*/ 1 w 4099805"/>
                <a:gd name="connsiteY2" fmla="*/ 257442 h 257442"/>
                <a:gd name="connsiteX3" fmla="*/ 0 w 4099805"/>
                <a:gd name="connsiteY3" fmla="*/ 0 h 257442"/>
                <a:gd name="connsiteX0" fmla="*/ 4378727 w 4378727"/>
                <a:gd name="connsiteY0" fmla="*/ 0 h 257442"/>
                <a:gd name="connsiteX1" fmla="*/ 4045084 w 4378727"/>
                <a:gd name="connsiteY1" fmla="*/ 257442 h 257442"/>
                <a:gd name="connsiteX2" fmla="*/ 1 w 4378727"/>
                <a:gd name="connsiteY2" fmla="*/ 257442 h 257442"/>
                <a:gd name="connsiteX3" fmla="*/ 0 w 4378727"/>
                <a:gd name="connsiteY3" fmla="*/ 0 h 257442"/>
                <a:gd name="connsiteX0" fmla="*/ 4378727 w 4378727"/>
                <a:gd name="connsiteY0" fmla="*/ 0 h 257442"/>
                <a:gd name="connsiteX1" fmla="*/ 4324006 w 4378727"/>
                <a:gd name="connsiteY1" fmla="*/ 257442 h 257442"/>
                <a:gd name="connsiteX2" fmla="*/ 1 w 4378727"/>
                <a:gd name="connsiteY2" fmla="*/ 257442 h 257442"/>
                <a:gd name="connsiteX3" fmla="*/ 0 w 4378727"/>
                <a:gd name="connsiteY3" fmla="*/ 0 h 257442"/>
                <a:gd name="connsiteX0" fmla="*/ 4378727 w 4378727"/>
                <a:gd name="connsiteY0" fmla="*/ 0 h 257442"/>
                <a:gd name="connsiteX1" fmla="*/ 4324006 w 4378727"/>
                <a:gd name="connsiteY1" fmla="*/ 257442 h 257442"/>
                <a:gd name="connsiteX2" fmla="*/ 1 w 4378727"/>
                <a:gd name="connsiteY2" fmla="*/ 257442 h 257442"/>
                <a:gd name="connsiteX3" fmla="*/ 0 w 4378727"/>
                <a:gd name="connsiteY3" fmla="*/ 0 h 257442"/>
                <a:gd name="connsiteX0" fmla="*/ 4378726 w 4378726"/>
                <a:gd name="connsiteY0" fmla="*/ 0 h 257442"/>
                <a:gd name="connsiteX1" fmla="*/ 4324005 w 4378726"/>
                <a:gd name="connsiteY1" fmla="*/ 257442 h 257442"/>
                <a:gd name="connsiteX2" fmla="*/ 0 w 4378726"/>
                <a:gd name="connsiteY2" fmla="*/ 257442 h 257442"/>
                <a:gd name="connsiteX3" fmla="*/ 0 w 4378726"/>
                <a:gd name="connsiteY3" fmla="*/ 0 h 257442"/>
                <a:gd name="connsiteX0" fmla="*/ 4547041 w 4547041"/>
                <a:gd name="connsiteY0" fmla="*/ 0 h 257442"/>
                <a:gd name="connsiteX1" fmla="*/ 4324005 w 4547041"/>
                <a:gd name="connsiteY1" fmla="*/ 257442 h 257442"/>
                <a:gd name="connsiteX2" fmla="*/ 0 w 4547041"/>
                <a:gd name="connsiteY2" fmla="*/ 257442 h 257442"/>
                <a:gd name="connsiteX3" fmla="*/ 0 w 4547041"/>
                <a:gd name="connsiteY3" fmla="*/ 0 h 257442"/>
                <a:gd name="connsiteX0" fmla="*/ 4547041 w 4547041"/>
                <a:gd name="connsiteY0" fmla="*/ 0 h 257442"/>
                <a:gd name="connsiteX1" fmla="*/ 4492320 w 4547041"/>
                <a:gd name="connsiteY1" fmla="*/ 257442 h 257442"/>
                <a:gd name="connsiteX2" fmla="*/ 0 w 4547041"/>
                <a:gd name="connsiteY2" fmla="*/ 257442 h 257442"/>
                <a:gd name="connsiteX3" fmla="*/ 0 w 4547041"/>
                <a:gd name="connsiteY3" fmla="*/ 0 h 257442"/>
                <a:gd name="connsiteX0" fmla="*/ 4547042 w 4547042"/>
                <a:gd name="connsiteY0" fmla="*/ 0 h 257442"/>
                <a:gd name="connsiteX1" fmla="*/ 4492321 w 4547042"/>
                <a:gd name="connsiteY1" fmla="*/ 257442 h 257442"/>
                <a:gd name="connsiteX2" fmla="*/ 0 w 4547042"/>
                <a:gd name="connsiteY2" fmla="*/ 257442 h 257442"/>
                <a:gd name="connsiteX3" fmla="*/ 1 w 4547042"/>
                <a:gd name="connsiteY3" fmla="*/ 0 h 257442"/>
                <a:gd name="connsiteX0" fmla="*/ 4547042 w 4547042"/>
                <a:gd name="connsiteY0" fmla="*/ 0 h 257442"/>
                <a:gd name="connsiteX1" fmla="*/ 4492321 w 4547042"/>
                <a:gd name="connsiteY1" fmla="*/ 257442 h 257442"/>
                <a:gd name="connsiteX2" fmla="*/ 0 w 4547042"/>
                <a:gd name="connsiteY2" fmla="*/ 257442 h 257442"/>
                <a:gd name="connsiteX3" fmla="*/ 0 w 4547042"/>
                <a:gd name="connsiteY3" fmla="*/ 0 h 257442"/>
                <a:gd name="connsiteX0" fmla="*/ 950801 w 4492321"/>
                <a:gd name="connsiteY0" fmla="*/ 0 h 257442"/>
                <a:gd name="connsiteX1" fmla="*/ 4492321 w 4492321"/>
                <a:gd name="connsiteY1" fmla="*/ 257442 h 257442"/>
                <a:gd name="connsiteX2" fmla="*/ 0 w 4492321"/>
                <a:gd name="connsiteY2" fmla="*/ 257442 h 257442"/>
                <a:gd name="connsiteX3" fmla="*/ 0 w 449232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212089 w 1212089"/>
                <a:gd name="connsiteY0" fmla="*/ 0 h 257442"/>
                <a:gd name="connsiteX1" fmla="*/ 896080 w 1212089"/>
                <a:gd name="connsiteY1" fmla="*/ 257442 h 257442"/>
                <a:gd name="connsiteX2" fmla="*/ 0 w 1212089"/>
                <a:gd name="connsiteY2" fmla="*/ 257442 h 257442"/>
                <a:gd name="connsiteX3" fmla="*/ 0 w 1212089"/>
                <a:gd name="connsiteY3" fmla="*/ 0 h 257442"/>
                <a:gd name="connsiteX0" fmla="*/ 1212089 w 1212089"/>
                <a:gd name="connsiteY0" fmla="*/ 0 h 257442"/>
                <a:gd name="connsiteX1" fmla="*/ 1157368 w 1212089"/>
                <a:gd name="connsiteY1" fmla="*/ 257442 h 257442"/>
                <a:gd name="connsiteX2" fmla="*/ 0 w 1212089"/>
                <a:gd name="connsiteY2" fmla="*/ 257442 h 257442"/>
                <a:gd name="connsiteX3" fmla="*/ 0 w 1212089"/>
                <a:gd name="connsiteY3" fmla="*/ 0 h 257442"/>
                <a:gd name="connsiteX0" fmla="*/ 1212090 w 1212090"/>
                <a:gd name="connsiteY0" fmla="*/ 0 h 257442"/>
                <a:gd name="connsiteX1" fmla="*/ 1157369 w 1212090"/>
                <a:gd name="connsiteY1" fmla="*/ 257442 h 257442"/>
                <a:gd name="connsiteX2" fmla="*/ 0 w 1212090"/>
                <a:gd name="connsiteY2" fmla="*/ 257442 h 257442"/>
                <a:gd name="connsiteX3" fmla="*/ 1 w 1212090"/>
                <a:gd name="connsiteY3" fmla="*/ 0 h 257442"/>
                <a:gd name="connsiteX0" fmla="*/ 1212090 w 1212090"/>
                <a:gd name="connsiteY0" fmla="*/ 0 h 257442"/>
                <a:gd name="connsiteX1" fmla="*/ 1157369 w 1212090"/>
                <a:gd name="connsiteY1" fmla="*/ 257442 h 257442"/>
                <a:gd name="connsiteX2" fmla="*/ 0 w 1212090"/>
                <a:gd name="connsiteY2" fmla="*/ 257442 h 257442"/>
                <a:gd name="connsiteX3" fmla="*/ 0 w 1212090"/>
                <a:gd name="connsiteY3" fmla="*/ 0 h 257442"/>
                <a:gd name="connsiteX0" fmla="*/ 1465365 w 1465365"/>
                <a:gd name="connsiteY0" fmla="*/ 0 h 257442"/>
                <a:gd name="connsiteX1" fmla="*/ 1157369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633680 w 1633680"/>
                <a:gd name="connsiteY0" fmla="*/ 0 h 257442"/>
                <a:gd name="connsiteX1" fmla="*/ 1410644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8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1 w 1633681"/>
                <a:gd name="connsiteY0" fmla="*/ 0 h 257442"/>
                <a:gd name="connsiteX1" fmla="*/ 1578959 w 1633681"/>
                <a:gd name="connsiteY1" fmla="*/ 257442 h 257442"/>
                <a:gd name="connsiteX2" fmla="*/ 0 w 1633681"/>
                <a:gd name="connsiteY2" fmla="*/ 257442 h 257442"/>
                <a:gd name="connsiteX3" fmla="*/ 1 w 1633681"/>
                <a:gd name="connsiteY3" fmla="*/ 0 h 257442"/>
                <a:gd name="connsiteX0" fmla="*/ 1633681 w 1633681"/>
                <a:gd name="connsiteY0" fmla="*/ 0 h 257442"/>
                <a:gd name="connsiteX1" fmla="*/ 1578959 w 1633681"/>
                <a:gd name="connsiteY1" fmla="*/ 257442 h 257442"/>
                <a:gd name="connsiteX2" fmla="*/ 0 w 1633681"/>
                <a:gd name="connsiteY2" fmla="*/ 257442 h 257442"/>
                <a:gd name="connsiteX3" fmla="*/ 1 w 1633681"/>
                <a:gd name="connsiteY3" fmla="*/ 0 h 257442"/>
                <a:gd name="connsiteX0" fmla="*/ 1801996 w 1801996"/>
                <a:gd name="connsiteY0" fmla="*/ 0 h 257442"/>
                <a:gd name="connsiteX1" fmla="*/ 1578959 w 1801996"/>
                <a:gd name="connsiteY1" fmla="*/ 257442 h 257442"/>
                <a:gd name="connsiteX2" fmla="*/ 0 w 1801996"/>
                <a:gd name="connsiteY2" fmla="*/ 257442 h 257442"/>
                <a:gd name="connsiteX3" fmla="*/ 1 w 1801996"/>
                <a:gd name="connsiteY3" fmla="*/ 0 h 257442"/>
                <a:gd name="connsiteX0" fmla="*/ 1801996 w 1801996"/>
                <a:gd name="connsiteY0" fmla="*/ 0 h 257442"/>
                <a:gd name="connsiteX1" fmla="*/ 1747274 w 1801996"/>
                <a:gd name="connsiteY1" fmla="*/ 257442 h 257442"/>
                <a:gd name="connsiteX2" fmla="*/ 0 w 1801996"/>
                <a:gd name="connsiteY2" fmla="*/ 257442 h 257442"/>
                <a:gd name="connsiteX3" fmla="*/ 1 w 1801996"/>
                <a:gd name="connsiteY3" fmla="*/ 0 h 257442"/>
                <a:gd name="connsiteX0" fmla="*/ 1801996 w 1801996"/>
                <a:gd name="connsiteY0" fmla="*/ 0 h 257442"/>
                <a:gd name="connsiteX1" fmla="*/ 1747274 w 1801996"/>
                <a:gd name="connsiteY1" fmla="*/ 257442 h 257442"/>
                <a:gd name="connsiteX2" fmla="*/ 0 w 1801996"/>
                <a:gd name="connsiteY2" fmla="*/ 257442 h 257442"/>
                <a:gd name="connsiteX3" fmla="*/ 1 w 1801996"/>
                <a:gd name="connsiteY3" fmla="*/ 0 h 257442"/>
                <a:gd name="connsiteX0" fmla="*/ 1801996 w 1801996"/>
                <a:gd name="connsiteY0" fmla="*/ 0 h 257442"/>
                <a:gd name="connsiteX1" fmla="*/ 1747274 w 1801996"/>
                <a:gd name="connsiteY1" fmla="*/ 257442 h 257442"/>
                <a:gd name="connsiteX2" fmla="*/ 0 w 1801996"/>
                <a:gd name="connsiteY2" fmla="*/ 257442 h 257442"/>
                <a:gd name="connsiteX3" fmla="*/ 0 w 1801996"/>
                <a:gd name="connsiteY3" fmla="*/ 0 h 257442"/>
                <a:gd name="connsiteX0" fmla="*/ 2055270 w 2055270"/>
                <a:gd name="connsiteY0" fmla="*/ 0 h 257442"/>
                <a:gd name="connsiteX1" fmla="*/ 1747274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215570 w 2215570"/>
                <a:gd name="connsiteY0" fmla="*/ 0 h 257442"/>
                <a:gd name="connsiteX1" fmla="*/ 20005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375870 w 2375870"/>
                <a:gd name="connsiteY0" fmla="*/ 0 h 257442"/>
                <a:gd name="connsiteX1" fmla="*/ 21608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375870 w 2375870"/>
                <a:gd name="connsiteY0" fmla="*/ 0 h 257442"/>
                <a:gd name="connsiteX1" fmla="*/ 23211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375870 w 2375870"/>
                <a:gd name="connsiteY0" fmla="*/ 0 h 257442"/>
                <a:gd name="connsiteX1" fmla="*/ 23211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375870 w 2375870"/>
                <a:gd name="connsiteY0" fmla="*/ 0 h 257442"/>
                <a:gd name="connsiteX1" fmla="*/ 23211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645175 w 2645175"/>
                <a:gd name="connsiteY0" fmla="*/ 0 h 257442"/>
                <a:gd name="connsiteX1" fmla="*/ 2321149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981805 w 2981805"/>
                <a:gd name="connsiteY0" fmla="*/ 0 h 257442"/>
                <a:gd name="connsiteX1" fmla="*/ 2758770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813491 w 2927084"/>
                <a:gd name="connsiteY0" fmla="*/ 0 h 257442"/>
                <a:gd name="connsiteX1" fmla="*/ 2927084 w 2927084"/>
                <a:gd name="connsiteY1" fmla="*/ 257442 h 257442"/>
                <a:gd name="connsiteX2" fmla="*/ 0 w 2927084"/>
                <a:gd name="connsiteY2" fmla="*/ 257442 h 257442"/>
                <a:gd name="connsiteX3" fmla="*/ 0 w 2927084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1 w 2813491"/>
                <a:gd name="connsiteY2" fmla="*/ 257442 h 257442"/>
                <a:gd name="connsiteX3" fmla="*/ 0 w 2813491"/>
                <a:gd name="connsiteY3" fmla="*/ 0 h 257442"/>
                <a:gd name="connsiteX0" fmla="*/ 2813490 w 2813490"/>
                <a:gd name="connsiteY0" fmla="*/ 0 h 257442"/>
                <a:gd name="connsiteX1" fmla="*/ 2758769 w 2813490"/>
                <a:gd name="connsiteY1" fmla="*/ 257442 h 257442"/>
                <a:gd name="connsiteX2" fmla="*/ 0 w 2813490"/>
                <a:gd name="connsiteY2" fmla="*/ 257442 h 257442"/>
                <a:gd name="connsiteX3" fmla="*/ 0 w 2813490"/>
                <a:gd name="connsiteY3" fmla="*/ 0 h 257442"/>
                <a:gd name="connsiteX0" fmla="*/ 2981804 w 2981804"/>
                <a:gd name="connsiteY0" fmla="*/ 0 h 257442"/>
                <a:gd name="connsiteX1" fmla="*/ 2758769 w 2981804"/>
                <a:gd name="connsiteY1" fmla="*/ 257442 h 257442"/>
                <a:gd name="connsiteX2" fmla="*/ 0 w 2981804"/>
                <a:gd name="connsiteY2" fmla="*/ 257442 h 257442"/>
                <a:gd name="connsiteX3" fmla="*/ 0 w 2981804"/>
                <a:gd name="connsiteY3" fmla="*/ 0 h 257442"/>
                <a:gd name="connsiteX0" fmla="*/ 2981804 w 2981804"/>
                <a:gd name="connsiteY0" fmla="*/ 0 h 257442"/>
                <a:gd name="connsiteX1" fmla="*/ 2927083 w 2981804"/>
                <a:gd name="connsiteY1" fmla="*/ 257442 h 257442"/>
                <a:gd name="connsiteX2" fmla="*/ 0 w 2981804"/>
                <a:gd name="connsiteY2" fmla="*/ 257442 h 257442"/>
                <a:gd name="connsiteX3" fmla="*/ 0 w 2981804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1 w 2981805"/>
                <a:gd name="connsiteY3" fmla="*/ 0 h 257442"/>
                <a:gd name="connsiteX0" fmla="*/ 3150122 w 3150122"/>
                <a:gd name="connsiteY0" fmla="*/ 0 h 257442"/>
                <a:gd name="connsiteX1" fmla="*/ 2927084 w 3150122"/>
                <a:gd name="connsiteY1" fmla="*/ 257442 h 257442"/>
                <a:gd name="connsiteX2" fmla="*/ 0 w 3150122"/>
                <a:gd name="connsiteY2" fmla="*/ 257442 h 257442"/>
                <a:gd name="connsiteX3" fmla="*/ 1 w 3150122"/>
                <a:gd name="connsiteY3" fmla="*/ 0 h 257442"/>
                <a:gd name="connsiteX0" fmla="*/ 3150122 w 3150122"/>
                <a:gd name="connsiteY0" fmla="*/ 0 h 257442"/>
                <a:gd name="connsiteX1" fmla="*/ 3095400 w 3150122"/>
                <a:gd name="connsiteY1" fmla="*/ 257442 h 257442"/>
                <a:gd name="connsiteX2" fmla="*/ 0 w 3150122"/>
                <a:gd name="connsiteY2" fmla="*/ 257442 h 257442"/>
                <a:gd name="connsiteX3" fmla="*/ 1 w 3150122"/>
                <a:gd name="connsiteY3" fmla="*/ 0 h 257442"/>
                <a:gd name="connsiteX0" fmla="*/ 3150122 w 3150122"/>
                <a:gd name="connsiteY0" fmla="*/ 0 h 257442"/>
                <a:gd name="connsiteX1" fmla="*/ 3095400 w 3150122"/>
                <a:gd name="connsiteY1" fmla="*/ 257442 h 257442"/>
                <a:gd name="connsiteX2" fmla="*/ 0 w 3150122"/>
                <a:gd name="connsiteY2" fmla="*/ 257442 h 257442"/>
                <a:gd name="connsiteX3" fmla="*/ 1 w 3150122"/>
                <a:gd name="connsiteY3" fmla="*/ 0 h 257442"/>
                <a:gd name="connsiteX0" fmla="*/ 3150122 w 3150122"/>
                <a:gd name="connsiteY0" fmla="*/ 0 h 257442"/>
                <a:gd name="connsiteX1" fmla="*/ 3095400 w 3150122"/>
                <a:gd name="connsiteY1" fmla="*/ 257442 h 257442"/>
                <a:gd name="connsiteX2" fmla="*/ 0 w 3150122"/>
                <a:gd name="connsiteY2" fmla="*/ 257442 h 257442"/>
                <a:gd name="connsiteX3" fmla="*/ 0 w 3150122"/>
                <a:gd name="connsiteY3" fmla="*/ 0 h 257442"/>
                <a:gd name="connsiteX0" fmla="*/ 3318436 w 3318436"/>
                <a:gd name="connsiteY0" fmla="*/ 0 h 257442"/>
                <a:gd name="connsiteX1" fmla="*/ 3095400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5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5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5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968434 w 3263715"/>
                <a:gd name="connsiteY0" fmla="*/ 0 h 257442"/>
                <a:gd name="connsiteX1" fmla="*/ 3263715 w 3263715"/>
                <a:gd name="connsiteY1" fmla="*/ 257442 h 257442"/>
                <a:gd name="connsiteX2" fmla="*/ 0 w 3263715"/>
                <a:gd name="connsiteY2" fmla="*/ 257442 h 257442"/>
                <a:gd name="connsiteX3" fmla="*/ 0 w 3263715"/>
                <a:gd name="connsiteY3" fmla="*/ 0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1 w 968434"/>
                <a:gd name="connsiteY2" fmla="*/ 257442 h 257442"/>
                <a:gd name="connsiteX3" fmla="*/ 0 w 968434"/>
                <a:gd name="connsiteY3" fmla="*/ 0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297051 w 1297051"/>
                <a:gd name="connsiteY0" fmla="*/ 0 h 257442"/>
                <a:gd name="connsiteX1" fmla="*/ 1074013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1 w 1297051"/>
                <a:gd name="connsiteY2" fmla="*/ 257442 h 257442"/>
                <a:gd name="connsiteX3" fmla="*/ 0 w 1297051"/>
                <a:gd name="connsiteY3" fmla="*/ 0 h 257442"/>
                <a:gd name="connsiteX0" fmla="*/ 1566355 w 1566355"/>
                <a:gd name="connsiteY0" fmla="*/ 0 h 257442"/>
                <a:gd name="connsiteX1" fmla="*/ 1242330 w 1566355"/>
                <a:gd name="connsiteY1" fmla="*/ 257442 h 257442"/>
                <a:gd name="connsiteX2" fmla="*/ 1 w 1566355"/>
                <a:gd name="connsiteY2" fmla="*/ 257442 h 257442"/>
                <a:gd name="connsiteX3" fmla="*/ 0 w 1566355"/>
                <a:gd name="connsiteY3" fmla="*/ 0 h 257442"/>
                <a:gd name="connsiteX0" fmla="*/ 1566355 w 1566355"/>
                <a:gd name="connsiteY0" fmla="*/ 0 h 257442"/>
                <a:gd name="connsiteX1" fmla="*/ 1511634 w 1566355"/>
                <a:gd name="connsiteY1" fmla="*/ 257442 h 257442"/>
                <a:gd name="connsiteX2" fmla="*/ 1 w 1566355"/>
                <a:gd name="connsiteY2" fmla="*/ 257442 h 257442"/>
                <a:gd name="connsiteX3" fmla="*/ 0 w 1566355"/>
                <a:gd name="connsiteY3" fmla="*/ 0 h 257442"/>
                <a:gd name="connsiteX0" fmla="*/ 1566355 w 1566355"/>
                <a:gd name="connsiteY0" fmla="*/ 0 h 257442"/>
                <a:gd name="connsiteX1" fmla="*/ 1511634 w 1566355"/>
                <a:gd name="connsiteY1" fmla="*/ 257442 h 257442"/>
                <a:gd name="connsiteX2" fmla="*/ 1 w 1566355"/>
                <a:gd name="connsiteY2" fmla="*/ 257442 h 257442"/>
                <a:gd name="connsiteX3" fmla="*/ 0 w 1566355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821936 w 1821936"/>
                <a:gd name="connsiteY0" fmla="*/ 0 h 257442"/>
                <a:gd name="connsiteX1" fmla="*/ 1511633 w 1821936"/>
                <a:gd name="connsiteY1" fmla="*/ 257442 h 257442"/>
                <a:gd name="connsiteX2" fmla="*/ 0 w 1821936"/>
                <a:gd name="connsiteY2" fmla="*/ 257442 h 257442"/>
                <a:gd name="connsiteX3" fmla="*/ 0 w 1821936"/>
                <a:gd name="connsiteY3" fmla="*/ 0 h 257442"/>
                <a:gd name="connsiteX0" fmla="*/ 1821936 w 1821936"/>
                <a:gd name="connsiteY0" fmla="*/ 0 h 257442"/>
                <a:gd name="connsiteX1" fmla="*/ 1767215 w 1821936"/>
                <a:gd name="connsiteY1" fmla="*/ 257442 h 257442"/>
                <a:gd name="connsiteX2" fmla="*/ 0 w 1821936"/>
                <a:gd name="connsiteY2" fmla="*/ 257442 h 257442"/>
                <a:gd name="connsiteX3" fmla="*/ 0 w 1821936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1 w 1821937"/>
                <a:gd name="connsiteY3" fmla="*/ 0 h 257442"/>
                <a:gd name="connsiteX0" fmla="*/ 1982238 w 1982238"/>
                <a:gd name="connsiteY0" fmla="*/ 0 h 257442"/>
                <a:gd name="connsiteX1" fmla="*/ 1767216 w 1982238"/>
                <a:gd name="connsiteY1" fmla="*/ 257442 h 257442"/>
                <a:gd name="connsiteX2" fmla="*/ 0 w 1982238"/>
                <a:gd name="connsiteY2" fmla="*/ 257442 h 257442"/>
                <a:gd name="connsiteX3" fmla="*/ 1 w 1982238"/>
                <a:gd name="connsiteY3" fmla="*/ 0 h 257442"/>
                <a:gd name="connsiteX0" fmla="*/ 1982238 w 1982238"/>
                <a:gd name="connsiteY0" fmla="*/ 0 h 257442"/>
                <a:gd name="connsiteX1" fmla="*/ 1927516 w 1982238"/>
                <a:gd name="connsiteY1" fmla="*/ 257442 h 257442"/>
                <a:gd name="connsiteX2" fmla="*/ 0 w 1982238"/>
                <a:gd name="connsiteY2" fmla="*/ 257442 h 257442"/>
                <a:gd name="connsiteX3" fmla="*/ 1 w 1982238"/>
                <a:gd name="connsiteY3" fmla="*/ 0 h 257442"/>
                <a:gd name="connsiteX0" fmla="*/ 1982238 w 1982238"/>
                <a:gd name="connsiteY0" fmla="*/ 0 h 257442"/>
                <a:gd name="connsiteX1" fmla="*/ 1927516 w 1982238"/>
                <a:gd name="connsiteY1" fmla="*/ 257442 h 257442"/>
                <a:gd name="connsiteX2" fmla="*/ 0 w 1982238"/>
                <a:gd name="connsiteY2" fmla="*/ 257442 h 257442"/>
                <a:gd name="connsiteX3" fmla="*/ 1 w 1982238"/>
                <a:gd name="connsiteY3" fmla="*/ 0 h 257442"/>
                <a:gd name="connsiteX0" fmla="*/ 1982238 w 1982238"/>
                <a:gd name="connsiteY0" fmla="*/ 0 h 257442"/>
                <a:gd name="connsiteX1" fmla="*/ 1927516 w 1982238"/>
                <a:gd name="connsiteY1" fmla="*/ 257442 h 257442"/>
                <a:gd name="connsiteX2" fmla="*/ 0 w 1982238"/>
                <a:gd name="connsiteY2" fmla="*/ 257442 h 257442"/>
                <a:gd name="connsiteX3" fmla="*/ 0 w 1982238"/>
                <a:gd name="connsiteY3" fmla="*/ 0 h 257442"/>
                <a:gd name="connsiteX0" fmla="*/ 2142538 w 2142538"/>
                <a:gd name="connsiteY0" fmla="*/ 0 h 257442"/>
                <a:gd name="connsiteX1" fmla="*/ 1927516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142538 w 2142538"/>
                <a:gd name="connsiteY0" fmla="*/ 0 h 257442"/>
                <a:gd name="connsiteX1" fmla="*/ 2087817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142538 w 2142538"/>
                <a:gd name="connsiteY0" fmla="*/ 0 h 257442"/>
                <a:gd name="connsiteX1" fmla="*/ 2087817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142538 w 2142538"/>
                <a:gd name="connsiteY0" fmla="*/ 0 h 257442"/>
                <a:gd name="connsiteX1" fmla="*/ 2087817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310852 w 2310852"/>
                <a:gd name="connsiteY0" fmla="*/ 0 h 257442"/>
                <a:gd name="connsiteX1" fmla="*/ 2087817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631453 w 2631453"/>
                <a:gd name="connsiteY0" fmla="*/ 0 h 257442"/>
                <a:gd name="connsiteX1" fmla="*/ 2256131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910376 w 2910376"/>
                <a:gd name="connsiteY0" fmla="*/ 0 h 257442"/>
                <a:gd name="connsiteX1" fmla="*/ 2576732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4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3078692 w 3078692"/>
                <a:gd name="connsiteY0" fmla="*/ 0 h 257442"/>
                <a:gd name="connsiteX1" fmla="*/ 2855655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0 w 3078692"/>
                <a:gd name="connsiteY3" fmla="*/ 0 h 257442"/>
                <a:gd name="connsiteX0" fmla="*/ 2910376 w 3023970"/>
                <a:gd name="connsiteY0" fmla="*/ 0 h 257442"/>
                <a:gd name="connsiteX1" fmla="*/ 3023970 w 3023970"/>
                <a:gd name="connsiteY1" fmla="*/ 257442 h 257442"/>
                <a:gd name="connsiteX2" fmla="*/ 0 w 3023970"/>
                <a:gd name="connsiteY2" fmla="*/ 257442 h 257442"/>
                <a:gd name="connsiteX3" fmla="*/ 0 w 3023970"/>
                <a:gd name="connsiteY3" fmla="*/ 0 h 257442"/>
                <a:gd name="connsiteX0" fmla="*/ 2910376 w 2910376"/>
                <a:gd name="connsiteY0" fmla="*/ 0 h 257442"/>
                <a:gd name="connsiteX1" fmla="*/ 2855655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5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5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732443 w 2855655"/>
                <a:gd name="connsiteY0" fmla="*/ 0 h 257442"/>
                <a:gd name="connsiteX1" fmla="*/ 2855655 w 2855655"/>
                <a:gd name="connsiteY1" fmla="*/ 257442 h 257442"/>
                <a:gd name="connsiteX2" fmla="*/ 0 w 2855655"/>
                <a:gd name="connsiteY2" fmla="*/ 257442 h 257442"/>
                <a:gd name="connsiteX3" fmla="*/ 0 w 2855655"/>
                <a:gd name="connsiteY3" fmla="*/ 0 h 257442"/>
                <a:gd name="connsiteX0" fmla="*/ 2732443 w 2732443"/>
                <a:gd name="connsiteY0" fmla="*/ 0 h 257442"/>
                <a:gd name="connsiteX1" fmla="*/ 2677723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3 w 2732443"/>
                <a:gd name="connsiteY1" fmla="*/ 257442 h 257442"/>
                <a:gd name="connsiteX2" fmla="*/ 1 w 2732443"/>
                <a:gd name="connsiteY2" fmla="*/ 257442 h 257442"/>
                <a:gd name="connsiteX3" fmla="*/ 0 w 2732443"/>
                <a:gd name="connsiteY3" fmla="*/ 0 h 257442"/>
                <a:gd name="connsiteX0" fmla="*/ 2732442 w 2732442"/>
                <a:gd name="connsiteY0" fmla="*/ 0 h 257442"/>
                <a:gd name="connsiteX1" fmla="*/ 2677722 w 2732442"/>
                <a:gd name="connsiteY1" fmla="*/ 257442 h 257442"/>
                <a:gd name="connsiteX2" fmla="*/ 0 w 2732442"/>
                <a:gd name="connsiteY2" fmla="*/ 257442 h 257442"/>
                <a:gd name="connsiteX3" fmla="*/ 0 w 2732442"/>
                <a:gd name="connsiteY3" fmla="*/ 0 h 257442"/>
                <a:gd name="connsiteX0" fmla="*/ 2463137 w 2677722"/>
                <a:gd name="connsiteY0" fmla="*/ 0 h 257442"/>
                <a:gd name="connsiteX1" fmla="*/ 2677722 w 2677722"/>
                <a:gd name="connsiteY1" fmla="*/ 257442 h 257442"/>
                <a:gd name="connsiteX2" fmla="*/ 0 w 2677722"/>
                <a:gd name="connsiteY2" fmla="*/ 257442 h 257442"/>
                <a:gd name="connsiteX3" fmla="*/ 0 w 2677722"/>
                <a:gd name="connsiteY3" fmla="*/ 0 h 257442"/>
                <a:gd name="connsiteX0" fmla="*/ 2463137 w 2463137"/>
                <a:gd name="connsiteY0" fmla="*/ 0 h 257442"/>
                <a:gd name="connsiteX1" fmla="*/ 2408416 w 2463137"/>
                <a:gd name="connsiteY1" fmla="*/ 257442 h 257442"/>
                <a:gd name="connsiteX2" fmla="*/ 0 w 2463137"/>
                <a:gd name="connsiteY2" fmla="*/ 257442 h 257442"/>
                <a:gd name="connsiteX3" fmla="*/ 0 w 2463137"/>
                <a:gd name="connsiteY3" fmla="*/ 0 h 257442"/>
                <a:gd name="connsiteX0" fmla="*/ 2463137 w 2463137"/>
                <a:gd name="connsiteY0" fmla="*/ 0 h 257442"/>
                <a:gd name="connsiteX1" fmla="*/ 2408416 w 2463137"/>
                <a:gd name="connsiteY1" fmla="*/ 257442 h 257442"/>
                <a:gd name="connsiteX2" fmla="*/ 0 w 2463137"/>
                <a:gd name="connsiteY2" fmla="*/ 257442 h 257442"/>
                <a:gd name="connsiteX3" fmla="*/ 0 w 2463137"/>
                <a:gd name="connsiteY3" fmla="*/ 0 h 257442"/>
                <a:gd name="connsiteX0" fmla="*/ 2463137 w 2463137"/>
                <a:gd name="connsiteY0" fmla="*/ 0 h 257442"/>
                <a:gd name="connsiteX1" fmla="*/ 2408416 w 2463137"/>
                <a:gd name="connsiteY1" fmla="*/ 257442 h 257442"/>
                <a:gd name="connsiteX2" fmla="*/ 0 w 2463137"/>
                <a:gd name="connsiteY2" fmla="*/ 257442 h 257442"/>
                <a:gd name="connsiteX3" fmla="*/ 0 w 2463137"/>
                <a:gd name="connsiteY3" fmla="*/ 0 h 257442"/>
                <a:gd name="connsiteX0" fmla="*/ 2310852 w 2408416"/>
                <a:gd name="connsiteY0" fmla="*/ 0 h 257442"/>
                <a:gd name="connsiteX1" fmla="*/ 2408416 w 2408416"/>
                <a:gd name="connsiteY1" fmla="*/ 257442 h 257442"/>
                <a:gd name="connsiteX2" fmla="*/ 0 w 2408416"/>
                <a:gd name="connsiteY2" fmla="*/ 257442 h 257442"/>
                <a:gd name="connsiteX3" fmla="*/ 0 w 2408416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471153 w 2471153"/>
                <a:gd name="connsiteY0" fmla="*/ 0 h 257442"/>
                <a:gd name="connsiteX1" fmla="*/ 2256131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471153 w 2471153"/>
                <a:gd name="connsiteY0" fmla="*/ 0 h 257442"/>
                <a:gd name="connsiteX1" fmla="*/ 2416432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471153 w 2471153"/>
                <a:gd name="connsiteY0" fmla="*/ 0 h 257442"/>
                <a:gd name="connsiteX1" fmla="*/ 2416432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471153 w 2471153"/>
                <a:gd name="connsiteY0" fmla="*/ 0 h 257442"/>
                <a:gd name="connsiteX1" fmla="*/ 2416432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310852 w 2416432"/>
                <a:gd name="connsiteY0" fmla="*/ 0 h 257442"/>
                <a:gd name="connsiteX1" fmla="*/ 2416432 w 2416432"/>
                <a:gd name="connsiteY1" fmla="*/ 257442 h 257442"/>
                <a:gd name="connsiteX2" fmla="*/ 0 w 2416432"/>
                <a:gd name="connsiteY2" fmla="*/ 257442 h 257442"/>
                <a:gd name="connsiteX3" fmla="*/ 0 w 241643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479168 w 2479168"/>
                <a:gd name="connsiteY0" fmla="*/ 0 h 257442"/>
                <a:gd name="connsiteX1" fmla="*/ 2256131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732443 w 2732443"/>
                <a:gd name="connsiteY0" fmla="*/ 0 h 257442"/>
                <a:gd name="connsiteX1" fmla="*/ 2424447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910376 w 2910376"/>
                <a:gd name="connsiteY0" fmla="*/ 0 h 257442"/>
                <a:gd name="connsiteX1" fmla="*/ 2677722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4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3078692 w 3078692"/>
                <a:gd name="connsiteY0" fmla="*/ 0 h 257442"/>
                <a:gd name="connsiteX1" fmla="*/ 2855655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0 w 3078692"/>
                <a:gd name="connsiteY3" fmla="*/ 0 h 257442"/>
                <a:gd name="connsiteX0" fmla="*/ 3238992 w 3238992"/>
                <a:gd name="connsiteY0" fmla="*/ 0 h 257442"/>
                <a:gd name="connsiteX1" fmla="*/ 3023970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238992 w 3238992"/>
                <a:gd name="connsiteY0" fmla="*/ 0 h 257442"/>
                <a:gd name="connsiteX1" fmla="*/ 3184271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238992 w 3238992"/>
                <a:gd name="connsiteY0" fmla="*/ 0 h 257442"/>
                <a:gd name="connsiteX1" fmla="*/ 3184271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238992 w 3238992"/>
                <a:gd name="connsiteY0" fmla="*/ 0 h 257442"/>
                <a:gd name="connsiteX1" fmla="*/ 3184271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543562 w 3543562"/>
                <a:gd name="connsiteY0" fmla="*/ 0 h 257442"/>
                <a:gd name="connsiteX1" fmla="*/ 318427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543562 w 3543562"/>
                <a:gd name="connsiteY0" fmla="*/ 0 h 257442"/>
                <a:gd name="connsiteX1" fmla="*/ 348884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543562 w 3543562"/>
                <a:gd name="connsiteY0" fmla="*/ 0 h 257442"/>
                <a:gd name="connsiteX1" fmla="*/ 348884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543562 w 3543562"/>
                <a:gd name="connsiteY0" fmla="*/ 0 h 257442"/>
                <a:gd name="connsiteX1" fmla="*/ 348884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703863 w 3703863"/>
                <a:gd name="connsiteY0" fmla="*/ 0 h 257442"/>
                <a:gd name="connsiteX1" fmla="*/ 3488841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703863 w 3703863"/>
                <a:gd name="connsiteY0" fmla="*/ 0 h 257442"/>
                <a:gd name="connsiteX1" fmla="*/ 3649142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703863 w 3703863"/>
                <a:gd name="connsiteY0" fmla="*/ 0 h 257442"/>
                <a:gd name="connsiteX1" fmla="*/ 3649142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703863 w 3703863"/>
                <a:gd name="connsiteY0" fmla="*/ 0 h 257442"/>
                <a:gd name="connsiteX1" fmla="*/ 3649142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872177 w 3872177"/>
                <a:gd name="connsiteY0" fmla="*/ 0 h 257442"/>
                <a:gd name="connsiteX1" fmla="*/ 3649142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3872177 w 3872177"/>
                <a:gd name="connsiteY0" fmla="*/ 0 h 257442"/>
                <a:gd name="connsiteX1" fmla="*/ 3817456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3872177 w 3872177"/>
                <a:gd name="connsiteY0" fmla="*/ 0 h 257442"/>
                <a:gd name="connsiteX1" fmla="*/ 3817456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3872177 w 3872177"/>
                <a:gd name="connsiteY0" fmla="*/ 0 h 257442"/>
                <a:gd name="connsiteX1" fmla="*/ 3817456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4125452 w 4125452"/>
                <a:gd name="connsiteY0" fmla="*/ 0 h 257442"/>
                <a:gd name="connsiteX1" fmla="*/ 3817456 w 4125452"/>
                <a:gd name="connsiteY1" fmla="*/ 257442 h 257442"/>
                <a:gd name="connsiteX2" fmla="*/ 0 w 4125452"/>
                <a:gd name="connsiteY2" fmla="*/ 257442 h 257442"/>
                <a:gd name="connsiteX3" fmla="*/ 0 w 4125452"/>
                <a:gd name="connsiteY3" fmla="*/ 0 h 257442"/>
                <a:gd name="connsiteX0" fmla="*/ 4125452 w 4125452"/>
                <a:gd name="connsiteY0" fmla="*/ 0 h 257442"/>
                <a:gd name="connsiteX1" fmla="*/ 4070730 w 4125452"/>
                <a:gd name="connsiteY1" fmla="*/ 257442 h 257442"/>
                <a:gd name="connsiteX2" fmla="*/ 0 w 4125452"/>
                <a:gd name="connsiteY2" fmla="*/ 257442 h 257442"/>
                <a:gd name="connsiteX3" fmla="*/ 0 w 4125452"/>
                <a:gd name="connsiteY3" fmla="*/ 0 h 257442"/>
                <a:gd name="connsiteX0" fmla="*/ 4125453 w 4125453"/>
                <a:gd name="connsiteY0" fmla="*/ 0 h 257442"/>
                <a:gd name="connsiteX1" fmla="*/ 4070731 w 4125453"/>
                <a:gd name="connsiteY1" fmla="*/ 257442 h 257442"/>
                <a:gd name="connsiteX2" fmla="*/ 0 w 4125453"/>
                <a:gd name="connsiteY2" fmla="*/ 257442 h 257442"/>
                <a:gd name="connsiteX3" fmla="*/ 1 w 4125453"/>
                <a:gd name="connsiteY3" fmla="*/ 0 h 257442"/>
                <a:gd name="connsiteX0" fmla="*/ 4125453 w 4125453"/>
                <a:gd name="connsiteY0" fmla="*/ 0 h 257442"/>
                <a:gd name="connsiteX1" fmla="*/ 4070731 w 4125453"/>
                <a:gd name="connsiteY1" fmla="*/ 257442 h 257442"/>
                <a:gd name="connsiteX2" fmla="*/ 0 w 4125453"/>
                <a:gd name="connsiteY2" fmla="*/ 257442 h 257442"/>
                <a:gd name="connsiteX3" fmla="*/ 1 w 4125453"/>
                <a:gd name="connsiteY3" fmla="*/ 0 h 257442"/>
                <a:gd name="connsiteX0" fmla="*/ 4285753 w 4285753"/>
                <a:gd name="connsiteY0" fmla="*/ 0 h 257442"/>
                <a:gd name="connsiteX1" fmla="*/ 4070731 w 4285753"/>
                <a:gd name="connsiteY1" fmla="*/ 257442 h 257442"/>
                <a:gd name="connsiteX2" fmla="*/ 0 w 4285753"/>
                <a:gd name="connsiteY2" fmla="*/ 257442 h 257442"/>
                <a:gd name="connsiteX3" fmla="*/ 1 w 4285753"/>
                <a:gd name="connsiteY3" fmla="*/ 0 h 257442"/>
                <a:gd name="connsiteX0" fmla="*/ 4285753 w 4285753"/>
                <a:gd name="connsiteY0" fmla="*/ 0 h 257442"/>
                <a:gd name="connsiteX1" fmla="*/ 4231032 w 4285753"/>
                <a:gd name="connsiteY1" fmla="*/ 257442 h 257442"/>
                <a:gd name="connsiteX2" fmla="*/ 0 w 4285753"/>
                <a:gd name="connsiteY2" fmla="*/ 257442 h 257442"/>
                <a:gd name="connsiteX3" fmla="*/ 1 w 4285753"/>
                <a:gd name="connsiteY3" fmla="*/ 0 h 257442"/>
                <a:gd name="connsiteX0" fmla="*/ 4285752 w 4285752"/>
                <a:gd name="connsiteY0" fmla="*/ 0 h 257442"/>
                <a:gd name="connsiteX1" fmla="*/ 4231031 w 4285752"/>
                <a:gd name="connsiteY1" fmla="*/ 257442 h 257442"/>
                <a:gd name="connsiteX2" fmla="*/ 0 w 4285752"/>
                <a:gd name="connsiteY2" fmla="*/ 257442 h 257442"/>
                <a:gd name="connsiteX3" fmla="*/ 0 w 4285752"/>
                <a:gd name="connsiteY3" fmla="*/ 0 h 257442"/>
                <a:gd name="connsiteX0" fmla="*/ 4285753 w 4285753"/>
                <a:gd name="connsiteY0" fmla="*/ 0 h 257442"/>
                <a:gd name="connsiteX1" fmla="*/ 4231032 w 4285753"/>
                <a:gd name="connsiteY1" fmla="*/ 257442 h 257442"/>
                <a:gd name="connsiteX2" fmla="*/ 1 w 4285753"/>
                <a:gd name="connsiteY2" fmla="*/ 257442 h 257442"/>
                <a:gd name="connsiteX3" fmla="*/ 0 w 4285753"/>
                <a:gd name="connsiteY3" fmla="*/ 0 h 257442"/>
                <a:gd name="connsiteX0" fmla="*/ 4446053 w 4446053"/>
                <a:gd name="connsiteY0" fmla="*/ 0 h 257442"/>
                <a:gd name="connsiteX1" fmla="*/ 4231032 w 4446053"/>
                <a:gd name="connsiteY1" fmla="*/ 257442 h 257442"/>
                <a:gd name="connsiteX2" fmla="*/ 1 w 4446053"/>
                <a:gd name="connsiteY2" fmla="*/ 257442 h 257442"/>
                <a:gd name="connsiteX3" fmla="*/ 0 w 4446053"/>
                <a:gd name="connsiteY3" fmla="*/ 0 h 257442"/>
                <a:gd name="connsiteX0" fmla="*/ 4446053 w 4446053"/>
                <a:gd name="connsiteY0" fmla="*/ 0 h 257442"/>
                <a:gd name="connsiteX1" fmla="*/ 4391332 w 4446053"/>
                <a:gd name="connsiteY1" fmla="*/ 257442 h 257442"/>
                <a:gd name="connsiteX2" fmla="*/ 1 w 4446053"/>
                <a:gd name="connsiteY2" fmla="*/ 257442 h 257442"/>
                <a:gd name="connsiteX3" fmla="*/ 0 w 4446053"/>
                <a:gd name="connsiteY3" fmla="*/ 0 h 257442"/>
                <a:gd name="connsiteX0" fmla="*/ 4446053 w 4446053"/>
                <a:gd name="connsiteY0" fmla="*/ 0 h 257442"/>
                <a:gd name="connsiteX1" fmla="*/ 4391332 w 4446053"/>
                <a:gd name="connsiteY1" fmla="*/ 257442 h 257442"/>
                <a:gd name="connsiteX2" fmla="*/ 1 w 4446053"/>
                <a:gd name="connsiteY2" fmla="*/ 257442 h 257442"/>
                <a:gd name="connsiteX3" fmla="*/ 0 w 4446053"/>
                <a:gd name="connsiteY3" fmla="*/ 0 h 257442"/>
                <a:gd name="connsiteX0" fmla="*/ 4446052 w 4446052"/>
                <a:gd name="connsiteY0" fmla="*/ 0 h 257442"/>
                <a:gd name="connsiteX1" fmla="*/ 4391331 w 4446052"/>
                <a:gd name="connsiteY1" fmla="*/ 257442 h 257442"/>
                <a:gd name="connsiteX2" fmla="*/ 0 w 4446052"/>
                <a:gd name="connsiteY2" fmla="*/ 257442 h 257442"/>
                <a:gd name="connsiteX3" fmla="*/ 0 w 4446052"/>
                <a:gd name="connsiteY3" fmla="*/ 0 h 257442"/>
                <a:gd name="connsiteX0" fmla="*/ 782549 w 4391331"/>
                <a:gd name="connsiteY0" fmla="*/ 0 h 257442"/>
                <a:gd name="connsiteX1" fmla="*/ 4391331 w 4391331"/>
                <a:gd name="connsiteY1" fmla="*/ 257442 h 257442"/>
                <a:gd name="connsiteX2" fmla="*/ 0 w 4391331"/>
                <a:gd name="connsiteY2" fmla="*/ 257442 h 257442"/>
                <a:gd name="connsiteX3" fmla="*/ 0 w 4391331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968434 w 968434"/>
                <a:gd name="connsiteY0" fmla="*/ 0 h 257442"/>
                <a:gd name="connsiteX1" fmla="*/ 727829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2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1 w 968435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1 w 968435"/>
                <a:gd name="connsiteY3" fmla="*/ 0 h 257442"/>
                <a:gd name="connsiteX0" fmla="*/ 1136750 w 1136750"/>
                <a:gd name="connsiteY0" fmla="*/ 0 h 257442"/>
                <a:gd name="connsiteX1" fmla="*/ 913713 w 1136750"/>
                <a:gd name="connsiteY1" fmla="*/ 257442 h 257442"/>
                <a:gd name="connsiteX2" fmla="*/ 0 w 1136750"/>
                <a:gd name="connsiteY2" fmla="*/ 257442 h 257442"/>
                <a:gd name="connsiteX3" fmla="*/ 1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1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1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0 w 1136750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86955 w 1886955"/>
                <a:gd name="connsiteY0" fmla="*/ 0 h 257442"/>
                <a:gd name="connsiteX1" fmla="*/ 1578959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2055270 w 2055270"/>
                <a:gd name="connsiteY0" fmla="*/ 0 h 257442"/>
                <a:gd name="connsiteX1" fmla="*/ 1832234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233204 w 2233204"/>
                <a:gd name="connsiteY0" fmla="*/ 0 h 257442"/>
                <a:gd name="connsiteX1" fmla="*/ 2000549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0 w 2233204"/>
                <a:gd name="connsiteY3" fmla="*/ 0 h 257442"/>
                <a:gd name="connsiteX0" fmla="*/ 2520141 w 2520141"/>
                <a:gd name="connsiteY0" fmla="*/ 0 h 257442"/>
                <a:gd name="connsiteX1" fmla="*/ 2178482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781430 w 2781430"/>
                <a:gd name="connsiteY0" fmla="*/ 0 h 257442"/>
                <a:gd name="connsiteX1" fmla="*/ 2465420 w 2781430"/>
                <a:gd name="connsiteY1" fmla="*/ 257442 h 257442"/>
                <a:gd name="connsiteX2" fmla="*/ 0 w 2781430"/>
                <a:gd name="connsiteY2" fmla="*/ 257442 h 257442"/>
                <a:gd name="connsiteX3" fmla="*/ 0 w 2781430"/>
                <a:gd name="connsiteY3" fmla="*/ 0 h 257442"/>
                <a:gd name="connsiteX0" fmla="*/ 2781430 w 2781430"/>
                <a:gd name="connsiteY0" fmla="*/ 0 h 257442"/>
                <a:gd name="connsiteX1" fmla="*/ 2726708 w 2781430"/>
                <a:gd name="connsiteY1" fmla="*/ 257442 h 257442"/>
                <a:gd name="connsiteX2" fmla="*/ 0 w 2781430"/>
                <a:gd name="connsiteY2" fmla="*/ 257442 h 257442"/>
                <a:gd name="connsiteX3" fmla="*/ 0 w 2781430"/>
                <a:gd name="connsiteY3" fmla="*/ 0 h 257442"/>
                <a:gd name="connsiteX0" fmla="*/ 2781431 w 2781431"/>
                <a:gd name="connsiteY0" fmla="*/ 0 h 257442"/>
                <a:gd name="connsiteX1" fmla="*/ 2726709 w 2781431"/>
                <a:gd name="connsiteY1" fmla="*/ 257442 h 257442"/>
                <a:gd name="connsiteX2" fmla="*/ 0 w 2781431"/>
                <a:gd name="connsiteY2" fmla="*/ 257442 h 257442"/>
                <a:gd name="connsiteX3" fmla="*/ 1 w 2781431"/>
                <a:gd name="connsiteY3" fmla="*/ 0 h 257442"/>
                <a:gd name="connsiteX0" fmla="*/ 2781431 w 2781431"/>
                <a:gd name="connsiteY0" fmla="*/ 0 h 257442"/>
                <a:gd name="connsiteX1" fmla="*/ 2726709 w 2781431"/>
                <a:gd name="connsiteY1" fmla="*/ 257442 h 257442"/>
                <a:gd name="connsiteX2" fmla="*/ 0 w 2781431"/>
                <a:gd name="connsiteY2" fmla="*/ 257442 h 257442"/>
                <a:gd name="connsiteX3" fmla="*/ 1 w 278143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1431" h="257442">
                  <a:moveTo>
                    <a:pt x="2781431" y="0"/>
                  </a:moveTo>
                  <a:lnTo>
                    <a:pt x="2726709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5" name="btfpRunningAgenda1LevelTextLeft392144">
              <a:extLst>
                <a:ext uri="{FF2B5EF4-FFF2-40B4-BE49-F238E27FC236}">
                  <a16:creationId xmlns:a16="http://schemas.microsoft.com/office/drawing/2014/main" id="{58EE3662-9C74-8617-5B32-BB2E217B8BE2}"/>
                </a:ext>
              </a:extLst>
            </p:cNvPr>
            <p:cNvSpPr txBox="1"/>
            <p:nvPr/>
          </p:nvSpPr>
          <p:spPr bwMode="gray">
            <a:xfrm>
              <a:off x="0" y="876300"/>
              <a:ext cx="272670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marketing-mix</a:t>
              </a:r>
            </a:p>
          </p:txBody>
        </p:sp>
      </p:grp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B1A2AC17-D84D-5B5B-83CE-B397011404D1}"/>
              </a:ext>
            </a:extLst>
          </p:cNvPr>
          <p:cNvCxnSpPr>
            <a:cxnSpLocks/>
          </p:cNvCxnSpPr>
          <p:nvPr/>
        </p:nvCxnSpPr>
        <p:spPr bwMode="gray">
          <a:xfrm>
            <a:off x="10925506" y="2282089"/>
            <a:ext cx="0" cy="4242798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3" name="btfpNotesBox222394">
            <a:extLst>
              <a:ext uri="{FF2B5EF4-FFF2-40B4-BE49-F238E27FC236}">
                <a16:creationId xmlns:a16="http://schemas.microsoft.com/office/drawing/2014/main" id="{A3808735-9BAB-6EDB-A35E-FD6F0108E189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330200" y="6446736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LTM is May’24-Apr’25; LLTM is May’23-Apr’24 | Source: </a:t>
            </a:r>
            <a:r>
              <a:rPr lang="en-US" sz="800" err="1">
                <a:solidFill>
                  <a:srgbClr val="000000"/>
                </a:solidFill>
              </a:rPr>
              <a:t>Vivvix</a:t>
            </a:r>
            <a:r>
              <a:rPr lang="en-US" sz="800">
                <a:solidFill>
                  <a:srgbClr val="000000"/>
                </a:solidFill>
              </a:rPr>
              <a:t> (Kantar), </a:t>
            </a:r>
            <a:r>
              <a:rPr lang="en-US" sz="800" err="1">
                <a:solidFill>
                  <a:srgbClr val="000000"/>
                </a:solidFill>
              </a:rPr>
              <a:t>Pathmatics</a:t>
            </a:r>
            <a:r>
              <a:rPr lang="en-US" sz="800">
                <a:solidFill>
                  <a:srgbClr val="000000"/>
                </a:solidFill>
              </a:rPr>
              <a:t>, SEMrush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5CECC50-4240-A1A7-5013-EC7C44ED6FC0}"/>
              </a:ext>
            </a:extLst>
          </p:cNvPr>
          <p:cNvSpPr/>
          <p:nvPr/>
        </p:nvSpPr>
        <p:spPr bwMode="gray">
          <a:xfrm>
            <a:off x="804015" y="2236644"/>
            <a:ext cx="1915529" cy="3786154"/>
          </a:xfrm>
          <a:prstGeom prst="rect">
            <a:avLst/>
          </a:prstGeom>
          <a:noFill/>
          <a:ln w="19050" cap="flat" cmpd="sng" algn="ctr">
            <a:solidFill>
              <a:srgbClr val="CC0000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69" name="btfpStatusSticker154879">
            <a:extLst>
              <a:ext uri="{FF2B5EF4-FFF2-40B4-BE49-F238E27FC236}">
                <a16:creationId xmlns:a16="http://schemas.microsoft.com/office/drawing/2014/main" id="{D68CE437-4295-4F7B-4DE8-C5801736A79C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7555320" y="955344"/>
            <a:ext cx="2420344" cy="235611"/>
            <a:chOff x="-2939076" y="876300"/>
            <a:chExt cx="2420344" cy="235611"/>
          </a:xfrm>
        </p:grpSpPr>
        <p:sp>
          <p:nvSpPr>
            <p:cNvPr id="70" name="btfpStatusStickerText154879">
              <a:extLst>
                <a:ext uri="{FF2B5EF4-FFF2-40B4-BE49-F238E27FC236}">
                  <a16:creationId xmlns:a16="http://schemas.microsoft.com/office/drawing/2014/main" id="{F193F6C2-C016-B2F1-8360-2A462A140D9A}"/>
                </a:ext>
              </a:extLst>
            </p:cNvPr>
            <p:cNvSpPr txBox="1"/>
            <p:nvPr/>
          </p:nvSpPr>
          <p:spPr bwMode="gray">
            <a:xfrm>
              <a:off x="-2939076" y="876300"/>
              <a:ext cx="24203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Sparkling water</a:t>
              </a:r>
            </a:p>
          </p:txBody>
        </p:sp>
        <p:cxnSp>
          <p:nvCxnSpPr>
            <p:cNvPr id="71" name="btfpStatusStickerLine154879">
              <a:extLst>
                <a:ext uri="{FF2B5EF4-FFF2-40B4-BE49-F238E27FC236}">
                  <a16:creationId xmlns:a16="http://schemas.microsoft.com/office/drawing/2014/main" id="{A913F3C6-E600-EEA9-FB3C-ADD5D1C11AFB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9390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6033DE9C-F6A3-DA7E-4CD8-30040FBCE7B3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5" y="944428"/>
            <a:ext cx="258172" cy="25744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B733F10-7B98-343D-3256-D387FA6FE9A2}"/>
              </a:ext>
            </a:extLst>
          </p:cNvPr>
          <p:cNvSpPr/>
          <p:nvPr/>
        </p:nvSpPr>
        <p:spPr bwMode="gray">
          <a:xfrm>
            <a:off x="876716" y="5656585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C00000"/>
                </a:solidFill>
              </a:rPr>
              <a:t>Target 1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4D1E88-CB51-4E07-29B7-9C50387FAF95}"/>
              </a:ext>
            </a:extLst>
          </p:cNvPr>
          <p:cNvSpPr/>
          <p:nvPr/>
        </p:nvSpPr>
        <p:spPr bwMode="gray">
          <a:xfrm>
            <a:off x="1885238" y="5656584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C00000"/>
                </a:solidFill>
              </a:rPr>
              <a:t>Target 2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FCF0C6-B1FE-6F3D-ED14-3131038D1F49}"/>
              </a:ext>
            </a:extLst>
          </p:cNvPr>
          <p:cNvSpPr/>
          <p:nvPr/>
        </p:nvSpPr>
        <p:spPr bwMode="gray">
          <a:xfrm>
            <a:off x="2854159" y="5663405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1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8EA0C4A-4E30-6C40-8C68-5B488DFE7CBB}"/>
              </a:ext>
            </a:extLst>
          </p:cNvPr>
          <p:cNvSpPr/>
          <p:nvPr/>
        </p:nvSpPr>
        <p:spPr bwMode="gray">
          <a:xfrm>
            <a:off x="3862681" y="5656583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2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C85085A-ECB8-61C7-B537-DAA1936C3338}"/>
              </a:ext>
            </a:extLst>
          </p:cNvPr>
          <p:cNvSpPr/>
          <p:nvPr/>
        </p:nvSpPr>
        <p:spPr bwMode="gray">
          <a:xfrm>
            <a:off x="4855437" y="5656582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3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FCD1647-8CC7-E01C-EC06-17BE7E538AE8}"/>
              </a:ext>
            </a:extLst>
          </p:cNvPr>
          <p:cNvSpPr/>
          <p:nvPr/>
        </p:nvSpPr>
        <p:spPr bwMode="gray">
          <a:xfrm>
            <a:off x="5863959" y="5663405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4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C08BA39-0489-C028-30EF-E99A770F15D7}"/>
              </a:ext>
            </a:extLst>
          </p:cNvPr>
          <p:cNvSpPr/>
          <p:nvPr/>
        </p:nvSpPr>
        <p:spPr bwMode="gray">
          <a:xfrm>
            <a:off x="6862612" y="5656581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5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ED55650-E2B6-80FA-8C11-BD2ABD038905}"/>
              </a:ext>
            </a:extLst>
          </p:cNvPr>
          <p:cNvSpPr/>
          <p:nvPr/>
        </p:nvSpPr>
        <p:spPr bwMode="gray">
          <a:xfrm>
            <a:off x="9491522" y="6119848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C00000"/>
                </a:solidFill>
              </a:rPr>
              <a:t>Target 1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7B25681-B45F-AB3D-A3B5-B8FBA218E54F}"/>
              </a:ext>
            </a:extLst>
          </p:cNvPr>
          <p:cNvSpPr/>
          <p:nvPr/>
        </p:nvSpPr>
        <p:spPr bwMode="gray">
          <a:xfrm>
            <a:off x="11075941" y="6119848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C00000"/>
                </a:solidFill>
              </a:rPr>
              <a:t>Target 2</a:t>
            </a:r>
            <a:endParaRPr lang="en-US" sz="1400" b="1" dirty="0">
              <a:solidFill>
                <a:srgbClr val="C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0641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B853931-AB6B-FB66-74D4-0F1DA95A22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991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853931-AB6B-FB66-74D4-0F1DA95A2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35D25F11-158A-C7F2-78FD-8437B7CD241E}"/>
              </a:ext>
            </a:extLst>
          </p:cNvPr>
          <p:cNvSpPr/>
          <p:nvPr/>
        </p:nvSpPr>
        <p:spPr bwMode="gray">
          <a:xfrm>
            <a:off x="9238129" y="5392215"/>
            <a:ext cx="400595" cy="230137"/>
          </a:xfrm>
          <a:prstGeom prst="rect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F2767D7-BAD3-0AA3-CF30-E866D6033281}"/>
              </a:ext>
            </a:extLst>
          </p:cNvPr>
          <p:cNvSpPr/>
          <p:nvPr/>
        </p:nvSpPr>
        <p:spPr bwMode="gray">
          <a:xfrm>
            <a:off x="4521015" y="5393148"/>
            <a:ext cx="400595" cy="230137"/>
          </a:xfrm>
          <a:prstGeom prst="rect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D69803F-93C9-D56C-B8D8-4A69DE8FD2C3}"/>
              </a:ext>
            </a:extLst>
          </p:cNvPr>
          <p:cNvSpPr/>
          <p:nvPr/>
        </p:nvSpPr>
        <p:spPr bwMode="gray">
          <a:xfrm>
            <a:off x="2906534" y="5392215"/>
            <a:ext cx="484721" cy="230137"/>
          </a:xfrm>
          <a:prstGeom prst="rect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92BDEEF-3F3F-FE13-95E3-81F61010D339}"/>
              </a:ext>
            </a:extLst>
          </p:cNvPr>
          <p:cNvSpPr/>
          <p:nvPr/>
        </p:nvSpPr>
        <p:spPr bwMode="gray">
          <a:xfrm>
            <a:off x="6080233" y="5387882"/>
            <a:ext cx="400595" cy="230137"/>
          </a:xfrm>
          <a:prstGeom prst="rect">
            <a:avLst/>
          </a:prstGeom>
          <a:solidFill>
            <a:schemeClr val="accent3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F3AA59E-1835-F555-3C14-4C7B2C6A20B8}"/>
              </a:ext>
            </a:extLst>
          </p:cNvPr>
          <p:cNvSpPr/>
          <p:nvPr/>
        </p:nvSpPr>
        <p:spPr bwMode="gray">
          <a:xfrm>
            <a:off x="7652288" y="5384333"/>
            <a:ext cx="400595" cy="230137"/>
          </a:xfrm>
          <a:prstGeom prst="rect">
            <a:avLst/>
          </a:prstGeom>
          <a:solidFill>
            <a:schemeClr val="accent3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0A19B1D-C4EE-7BF1-841D-50AD692B31CE}"/>
              </a:ext>
            </a:extLst>
          </p:cNvPr>
          <p:cNvSpPr/>
          <p:nvPr/>
        </p:nvSpPr>
        <p:spPr bwMode="gray">
          <a:xfrm>
            <a:off x="10787888" y="5385320"/>
            <a:ext cx="400595" cy="230137"/>
          </a:xfrm>
          <a:prstGeom prst="rect">
            <a:avLst/>
          </a:prstGeom>
          <a:solidFill>
            <a:schemeClr val="accent3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C69C8A0-9522-1E8A-FC27-F7B64E3DD702}"/>
              </a:ext>
            </a:extLst>
          </p:cNvPr>
          <p:cNvSpPr/>
          <p:nvPr/>
        </p:nvSpPr>
        <p:spPr bwMode="gray">
          <a:xfrm>
            <a:off x="1370022" y="5392215"/>
            <a:ext cx="400595" cy="230137"/>
          </a:xfrm>
          <a:prstGeom prst="rect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72" name="btfpColumnIndicatorGroup2">
            <a:extLst>
              <a:ext uri="{FF2B5EF4-FFF2-40B4-BE49-F238E27FC236}">
                <a16:creationId xmlns:a16="http://schemas.microsoft.com/office/drawing/2014/main" id="{DC1E885E-663B-A904-0D4B-C89D30AF7DF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9" name="btfpColumnGapBlocker633368">
              <a:extLst>
                <a:ext uri="{FF2B5EF4-FFF2-40B4-BE49-F238E27FC236}">
                  <a16:creationId xmlns:a16="http://schemas.microsoft.com/office/drawing/2014/main" id="{948EF19C-A619-0365-43D4-CDDDB3F0BB2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7" name="btfpColumnGapBlocker897670">
              <a:extLst>
                <a:ext uri="{FF2B5EF4-FFF2-40B4-BE49-F238E27FC236}">
                  <a16:creationId xmlns:a16="http://schemas.microsoft.com/office/drawing/2014/main" id="{D8158C43-C381-0C1A-E60F-8271D523ADCE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2" name="btfpColumnIndicator993516">
              <a:extLst>
                <a:ext uri="{FF2B5EF4-FFF2-40B4-BE49-F238E27FC236}">
                  <a16:creationId xmlns:a16="http://schemas.microsoft.com/office/drawing/2014/main" id="{F7C719E4-D274-4130-C4F6-F3DBD11F440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390809">
              <a:extLst>
                <a:ext uri="{FF2B5EF4-FFF2-40B4-BE49-F238E27FC236}">
                  <a16:creationId xmlns:a16="http://schemas.microsoft.com/office/drawing/2014/main" id="{F79EF25F-B4CE-B8A6-8C4A-21AA35D66014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324400">
              <a:extLst>
                <a:ext uri="{FF2B5EF4-FFF2-40B4-BE49-F238E27FC236}">
                  <a16:creationId xmlns:a16="http://schemas.microsoft.com/office/drawing/2014/main" id="{F3E2872C-B510-CC3D-80AA-4D344203D41F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6" name="btfpColumnIndicator618150">
              <a:extLst>
                <a:ext uri="{FF2B5EF4-FFF2-40B4-BE49-F238E27FC236}">
                  <a16:creationId xmlns:a16="http://schemas.microsoft.com/office/drawing/2014/main" id="{5EC2EB82-4CDD-5BD7-1AE6-08E42DF5B3CC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btfpColumnIndicator937016">
              <a:extLst>
                <a:ext uri="{FF2B5EF4-FFF2-40B4-BE49-F238E27FC236}">
                  <a16:creationId xmlns:a16="http://schemas.microsoft.com/office/drawing/2014/main" id="{942BB546-998C-4B3B-5E88-D716C70ED563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btfpColumnGapBlocker906737">
              <a:extLst>
                <a:ext uri="{FF2B5EF4-FFF2-40B4-BE49-F238E27FC236}">
                  <a16:creationId xmlns:a16="http://schemas.microsoft.com/office/drawing/2014/main" id="{EF29E5D0-B3A1-8BA6-6CB0-588A522A125C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9" name="btfpColumnIndicator268123">
              <a:extLst>
                <a:ext uri="{FF2B5EF4-FFF2-40B4-BE49-F238E27FC236}">
                  <a16:creationId xmlns:a16="http://schemas.microsoft.com/office/drawing/2014/main" id="{90D0321B-1E06-A198-D811-7583362A2529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btfpColumnIndicator448187">
              <a:extLst>
                <a:ext uri="{FF2B5EF4-FFF2-40B4-BE49-F238E27FC236}">
                  <a16:creationId xmlns:a16="http://schemas.microsoft.com/office/drawing/2014/main" id="{601609C8-8C03-F0CB-AE4A-D45167EC3FA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btfpColumnIndicatorGroup1">
            <a:extLst>
              <a:ext uri="{FF2B5EF4-FFF2-40B4-BE49-F238E27FC236}">
                <a16:creationId xmlns:a16="http://schemas.microsoft.com/office/drawing/2014/main" id="{DEF1C017-13AF-B8C7-A943-C4CC41D1647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68" name="btfpColumnGapBlocker838725">
              <a:extLst>
                <a:ext uri="{FF2B5EF4-FFF2-40B4-BE49-F238E27FC236}">
                  <a16:creationId xmlns:a16="http://schemas.microsoft.com/office/drawing/2014/main" id="{9A534FA7-28E0-A745-D167-A32D8DC6741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6" name="btfpColumnGapBlocker657888">
              <a:extLst>
                <a:ext uri="{FF2B5EF4-FFF2-40B4-BE49-F238E27FC236}">
                  <a16:creationId xmlns:a16="http://schemas.microsoft.com/office/drawing/2014/main" id="{70AC0A4B-08C5-8672-F0B1-C5F057DB55CB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1" name="btfpColumnIndicator657855">
              <a:extLst>
                <a:ext uri="{FF2B5EF4-FFF2-40B4-BE49-F238E27FC236}">
                  <a16:creationId xmlns:a16="http://schemas.microsoft.com/office/drawing/2014/main" id="{D95E9C4D-F70A-0ED5-BA5D-BB81A17C9AC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btfpColumnIndicator337650">
              <a:extLst>
                <a:ext uri="{FF2B5EF4-FFF2-40B4-BE49-F238E27FC236}">
                  <a16:creationId xmlns:a16="http://schemas.microsoft.com/office/drawing/2014/main" id="{911220A2-640A-B98B-7147-CA24F8481816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btfpColumnGapBlocker741597">
              <a:extLst>
                <a:ext uri="{FF2B5EF4-FFF2-40B4-BE49-F238E27FC236}">
                  <a16:creationId xmlns:a16="http://schemas.microsoft.com/office/drawing/2014/main" id="{A041D799-E016-89E8-37AF-69F45D46137E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3" name="btfpColumnIndicator791858">
              <a:extLst>
                <a:ext uri="{FF2B5EF4-FFF2-40B4-BE49-F238E27FC236}">
                  <a16:creationId xmlns:a16="http://schemas.microsoft.com/office/drawing/2014/main" id="{75491831-ECC4-17CA-5579-2F9D23DB2445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btfpColumnIndicator530456">
              <a:extLst>
                <a:ext uri="{FF2B5EF4-FFF2-40B4-BE49-F238E27FC236}">
                  <a16:creationId xmlns:a16="http://schemas.microsoft.com/office/drawing/2014/main" id="{344771A1-B5B0-877B-2F2E-47F93092E27D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btfpColumnGapBlocker472271">
              <a:extLst>
                <a:ext uri="{FF2B5EF4-FFF2-40B4-BE49-F238E27FC236}">
                  <a16:creationId xmlns:a16="http://schemas.microsoft.com/office/drawing/2014/main" id="{C562392D-1A3D-6851-67D4-5AC95D411D1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8" name="btfpColumnIndicator240913">
              <a:extLst>
                <a:ext uri="{FF2B5EF4-FFF2-40B4-BE49-F238E27FC236}">
                  <a16:creationId xmlns:a16="http://schemas.microsoft.com/office/drawing/2014/main" id="{D8807AA1-8AD7-D019-511C-EFA32689FE08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595376">
              <a:extLst>
                <a:ext uri="{FF2B5EF4-FFF2-40B4-BE49-F238E27FC236}">
                  <a16:creationId xmlns:a16="http://schemas.microsoft.com/office/drawing/2014/main" id="{4F772D3B-1016-2C15-69C6-CB0AE0B199A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tabLst>
                <a:tab pos="6457950" algn="l"/>
              </a:tabLst>
            </a:pPr>
            <a:r>
              <a:rPr lang="en-US" b="1" dirty="0"/>
              <a:t>Marketing channel mix</a:t>
            </a:r>
            <a:r>
              <a:rPr lang="en-US" dirty="0"/>
              <a:t>: Target 1 and Target 2 are outperforming peers with higher investments and a more diversified channel mix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03450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519010464735897 columns_2_132519236063076276 30_1_132519235021977123 34_1_132519246744957858 37_1_132519246745177277 10_1_132524658155331479 </a:t>
            </a:r>
          </a:p>
        </p:txBody>
      </p:sp>
      <p:grpSp>
        <p:nvGrpSpPr>
          <p:cNvPr id="82" name="btfpStatusSticker123117">
            <a:extLst>
              <a:ext uri="{FF2B5EF4-FFF2-40B4-BE49-F238E27FC236}">
                <a16:creationId xmlns:a16="http://schemas.microsoft.com/office/drawing/2014/main" id="{E675391D-4430-4FDE-1D56-2F5AEF96727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2664" y="955344"/>
            <a:ext cx="1759136" cy="235611"/>
            <a:chOff x="-2867774" y="876300"/>
            <a:chExt cx="1759136" cy="235611"/>
          </a:xfrm>
        </p:grpSpPr>
        <p:sp>
          <p:nvSpPr>
            <p:cNvPr id="83" name="btfpStatusStickerText123117">
              <a:extLst>
                <a:ext uri="{FF2B5EF4-FFF2-40B4-BE49-F238E27FC236}">
                  <a16:creationId xmlns:a16="http://schemas.microsoft.com/office/drawing/2014/main" id="{ADA8972E-F7D5-ABFB-5AF9-6A2E2B460A1D}"/>
                </a:ext>
              </a:extLst>
            </p:cNvPr>
            <p:cNvSpPr txBox="1"/>
            <p:nvPr/>
          </p:nvSpPr>
          <p:spPr bwMode="gray">
            <a:xfrm>
              <a:off x="-2867774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84" name="btfpStatusStickerLine123117">
              <a:extLst>
                <a:ext uri="{FF2B5EF4-FFF2-40B4-BE49-F238E27FC236}">
                  <a16:creationId xmlns:a16="http://schemas.microsoft.com/office/drawing/2014/main" id="{A48EA2D3-0A31-C50B-6C06-A4F089B4A56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867774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5" name="Picture 94">
            <a:extLst>
              <a:ext uri="{FF2B5EF4-FFF2-40B4-BE49-F238E27FC236}">
                <a16:creationId xmlns:a16="http://schemas.microsoft.com/office/drawing/2014/main" id="{48E2E343-7D67-ADF1-64D2-71E05D8F32F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4428"/>
            <a:ext cx="258172" cy="257443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3CE91A6B-7EC1-CE64-F7B6-062A70B9906C}"/>
              </a:ext>
            </a:extLst>
          </p:cNvPr>
          <p:cNvGrpSpPr/>
          <p:nvPr/>
        </p:nvGrpSpPr>
        <p:grpSpPr>
          <a:xfrm>
            <a:off x="4028092" y="1288990"/>
            <a:ext cx="2333298" cy="122216"/>
            <a:chOff x="2782396" y="1356723"/>
            <a:chExt cx="2812684" cy="116555"/>
          </a:xfrm>
        </p:grpSpPr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3D1F284B-951A-41D5-1288-D4DBFAA38529}"/>
                </a:ext>
              </a:extLst>
            </p:cNvPr>
            <p:cNvCxnSpPr/>
            <p:nvPr/>
          </p:nvCxnSpPr>
          <p:spPr bwMode="gray">
            <a:xfrm>
              <a:off x="2782396" y="1417834"/>
              <a:ext cx="2812684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9B08865-0508-BF3E-2C12-B605D197E367}"/>
                </a:ext>
              </a:extLst>
            </p:cNvPr>
            <p:cNvSpPr/>
            <p:nvPr/>
          </p:nvSpPr>
          <p:spPr bwMode="gray">
            <a:xfrm>
              <a:off x="3812267" y="1356723"/>
              <a:ext cx="832111" cy="11655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i="1">
                  <a:solidFill>
                    <a:schemeClr val="tx1"/>
                  </a:solidFill>
                </a:rPr>
                <a:t>Online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141522D-FAE1-996A-ADDA-38AA98FA1D66}"/>
              </a:ext>
            </a:extLst>
          </p:cNvPr>
          <p:cNvGrpSpPr/>
          <p:nvPr/>
        </p:nvGrpSpPr>
        <p:grpSpPr>
          <a:xfrm>
            <a:off x="6469126" y="1292210"/>
            <a:ext cx="1996959" cy="122216"/>
            <a:chOff x="5677362" y="1353829"/>
            <a:chExt cx="3715246" cy="116555"/>
          </a:xfrm>
        </p:grpSpPr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8F5996A5-0C66-7C28-7D9B-0973EA8E3DD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677362" y="1416125"/>
              <a:ext cx="3715246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DF6F755-1122-7D9F-F494-6B5D664AD964}"/>
                </a:ext>
              </a:extLst>
            </p:cNvPr>
            <p:cNvSpPr/>
            <p:nvPr/>
          </p:nvSpPr>
          <p:spPr bwMode="gray">
            <a:xfrm>
              <a:off x="7003598" y="1353829"/>
              <a:ext cx="832111" cy="11655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i="1">
                  <a:solidFill>
                    <a:schemeClr val="tx1"/>
                  </a:solidFill>
                </a:rPr>
                <a:t>Offline</a:t>
              </a:r>
            </a:p>
          </p:txBody>
        </p:sp>
      </p:grpSp>
      <p:grpSp>
        <p:nvGrpSpPr>
          <p:cNvPr id="7" name="btfpRunningAgenda1Level392144">
            <a:extLst>
              <a:ext uri="{FF2B5EF4-FFF2-40B4-BE49-F238E27FC236}">
                <a16:creationId xmlns:a16="http://schemas.microsoft.com/office/drawing/2014/main" id="{D8E331D4-25A5-FBF4-AD62-F2006C08060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2781431" cy="257442"/>
            <a:chOff x="-1" y="876300"/>
            <a:chExt cx="2781431" cy="257442"/>
          </a:xfrm>
        </p:grpSpPr>
        <p:sp>
          <p:nvSpPr>
            <p:cNvPr id="9" name="btfpRunningAgenda1LevelBarLeft392144">
              <a:extLst>
                <a:ext uri="{FF2B5EF4-FFF2-40B4-BE49-F238E27FC236}">
                  <a16:creationId xmlns:a16="http://schemas.microsoft.com/office/drawing/2014/main" id="{92B723EB-7EAB-7A39-B8DF-931B1E08FB28}"/>
                </a:ext>
              </a:extLst>
            </p:cNvPr>
            <p:cNvSpPr/>
            <p:nvPr/>
          </p:nvSpPr>
          <p:spPr bwMode="gray">
            <a:xfrm>
              <a:off x="-1" y="876300"/>
              <a:ext cx="2781431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247356 w 1247356"/>
                <a:gd name="connsiteY0" fmla="*/ 0 h 257442"/>
                <a:gd name="connsiteX1" fmla="*/ 888065 w 1247356"/>
                <a:gd name="connsiteY1" fmla="*/ 257442 h 257442"/>
                <a:gd name="connsiteX2" fmla="*/ 0 w 1247356"/>
                <a:gd name="connsiteY2" fmla="*/ 257442 h 257442"/>
                <a:gd name="connsiteX3" fmla="*/ 0 w 1247356"/>
                <a:gd name="connsiteY3" fmla="*/ 0 h 257442"/>
                <a:gd name="connsiteX0" fmla="*/ 1247356 w 1247356"/>
                <a:gd name="connsiteY0" fmla="*/ 0 h 257442"/>
                <a:gd name="connsiteX1" fmla="*/ 1192634 w 1247356"/>
                <a:gd name="connsiteY1" fmla="*/ 257442 h 257442"/>
                <a:gd name="connsiteX2" fmla="*/ 0 w 1247356"/>
                <a:gd name="connsiteY2" fmla="*/ 257442 h 257442"/>
                <a:gd name="connsiteX3" fmla="*/ 0 w 1247356"/>
                <a:gd name="connsiteY3" fmla="*/ 0 h 257442"/>
                <a:gd name="connsiteX0" fmla="*/ 1247357 w 1247357"/>
                <a:gd name="connsiteY0" fmla="*/ 0 h 257442"/>
                <a:gd name="connsiteX1" fmla="*/ 1192635 w 1247357"/>
                <a:gd name="connsiteY1" fmla="*/ 257442 h 257442"/>
                <a:gd name="connsiteX2" fmla="*/ 0 w 1247357"/>
                <a:gd name="connsiteY2" fmla="*/ 257442 h 257442"/>
                <a:gd name="connsiteX3" fmla="*/ 1 w 1247357"/>
                <a:gd name="connsiteY3" fmla="*/ 0 h 257442"/>
                <a:gd name="connsiteX0" fmla="*/ 1247357 w 1247357"/>
                <a:gd name="connsiteY0" fmla="*/ 0 h 257442"/>
                <a:gd name="connsiteX1" fmla="*/ 1192635 w 1247357"/>
                <a:gd name="connsiteY1" fmla="*/ 257442 h 257442"/>
                <a:gd name="connsiteX2" fmla="*/ 0 w 1247357"/>
                <a:gd name="connsiteY2" fmla="*/ 257442 h 257442"/>
                <a:gd name="connsiteX3" fmla="*/ 1 w 1247357"/>
                <a:gd name="connsiteY3" fmla="*/ 0 h 257442"/>
                <a:gd name="connsiteX0" fmla="*/ 1407657 w 1407657"/>
                <a:gd name="connsiteY0" fmla="*/ 0 h 257442"/>
                <a:gd name="connsiteX1" fmla="*/ 1192635 w 1407657"/>
                <a:gd name="connsiteY1" fmla="*/ 257442 h 257442"/>
                <a:gd name="connsiteX2" fmla="*/ 0 w 1407657"/>
                <a:gd name="connsiteY2" fmla="*/ 257442 h 257442"/>
                <a:gd name="connsiteX3" fmla="*/ 1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0 w 1407657"/>
                <a:gd name="connsiteY2" fmla="*/ 257442 h 257442"/>
                <a:gd name="connsiteX3" fmla="*/ 1 w 1407657"/>
                <a:gd name="connsiteY3" fmla="*/ 0 h 257442"/>
                <a:gd name="connsiteX0" fmla="*/ 1407656 w 1407656"/>
                <a:gd name="connsiteY0" fmla="*/ 0 h 257442"/>
                <a:gd name="connsiteX1" fmla="*/ 1352935 w 1407656"/>
                <a:gd name="connsiteY1" fmla="*/ 257442 h 257442"/>
                <a:gd name="connsiteX2" fmla="*/ 0 w 1407656"/>
                <a:gd name="connsiteY2" fmla="*/ 257442 h 257442"/>
                <a:gd name="connsiteX3" fmla="*/ 0 w 1407656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575973 w 1575973"/>
                <a:gd name="connsiteY0" fmla="*/ 0 h 257442"/>
                <a:gd name="connsiteX1" fmla="*/ 1352936 w 1575973"/>
                <a:gd name="connsiteY1" fmla="*/ 257442 h 257442"/>
                <a:gd name="connsiteX2" fmla="*/ 1 w 1575973"/>
                <a:gd name="connsiteY2" fmla="*/ 257442 h 257442"/>
                <a:gd name="connsiteX3" fmla="*/ 0 w 1575973"/>
                <a:gd name="connsiteY3" fmla="*/ 0 h 257442"/>
                <a:gd name="connsiteX0" fmla="*/ 1575973 w 1575973"/>
                <a:gd name="connsiteY0" fmla="*/ 0 h 257442"/>
                <a:gd name="connsiteX1" fmla="*/ 1521252 w 1575973"/>
                <a:gd name="connsiteY1" fmla="*/ 257442 h 257442"/>
                <a:gd name="connsiteX2" fmla="*/ 1 w 1575973"/>
                <a:gd name="connsiteY2" fmla="*/ 257442 h 257442"/>
                <a:gd name="connsiteX3" fmla="*/ 0 w 1575973"/>
                <a:gd name="connsiteY3" fmla="*/ 0 h 257442"/>
                <a:gd name="connsiteX0" fmla="*/ 1575973 w 1575973"/>
                <a:gd name="connsiteY0" fmla="*/ 0 h 257442"/>
                <a:gd name="connsiteX1" fmla="*/ 1521252 w 1575973"/>
                <a:gd name="connsiteY1" fmla="*/ 257442 h 257442"/>
                <a:gd name="connsiteX2" fmla="*/ 1 w 1575973"/>
                <a:gd name="connsiteY2" fmla="*/ 257442 h 257442"/>
                <a:gd name="connsiteX3" fmla="*/ 0 w 1575973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407655 w 1521251"/>
                <a:gd name="connsiteY0" fmla="*/ 0 h 257442"/>
                <a:gd name="connsiteX1" fmla="*/ 1521251 w 1521251"/>
                <a:gd name="connsiteY1" fmla="*/ 257442 h 257442"/>
                <a:gd name="connsiteX2" fmla="*/ 0 w 1521251"/>
                <a:gd name="connsiteY2" fmla="*/ 257442 h 257442"/>
                <a:gd name="connsiteX3" fmla="*/ 0 w 1521251"/>
                <a:gd name="connsiteY3" fmla="*/ 0 h 257442"/>
                <a:gd name="connsiteX0" fmla="*/ 1407655 w 1407655"/>
                <a:gd name="connsiteY0" fmla="*/ 0 h 257442"/>
                <a:gd name="connsiteX1" fmla="*/ 1352935 w 1407655"/>
                <a:gd name="connsiteY1" fmla="*/ 257442 h 257442"/>
                <a:gd name="connsiteX2" fmla="*/ 0 w 1407655"/>
                <a:gd name="connsiteY2" fmla="*/ 257442 h 257442"/>
                <a:gd name="connsiteX3" fmla="*/ 0 w 1407655"/>
                <a:gd name="connsiteY3" fmla="*/ 0 h 257442"/>
                <a:gd name="connsiteX0" fmla="*/ 1407655 w 1407655"/>
                <a:gd name="connsiteY0" fmla="*/ 0 h 257442"/>
                <a:gd name="connsiteX1" fmla="*/ 1352935 w 1407655"/>
                <a:gd name="connsiteY1" fmla="*/ 257442 h 257442"/>
                <a:gd name="connsiteX2" fmla="*/ 0 w 1407655"/>
                <a:gd name="connsiteY2" fmla="*/ 257442 h 257442"/>
                <a:gd name="connsiteX3" fmla="*/ 0 w 1407655"/>
                <a:gd name="connsiteY3" fmla="*/ 0 h 257442"/>
                <a:gd name="connsiteX0" fmla="*/ 1407655 w 1407655"/>
                <a:gd name="connsiteY0" fmla="*/ 0 h 257442"/>
                <a:gd name="connsiteX1" fmla="*/ 1352935 w 1407655"/>
                <a:gd name="connsiteY1" fmla="*/ 257442 h 257442"/>
                <a:gd name="connsiteX2" fmla="*/ 0 w 1407655"/>
                <a:gd name="connsiteY2" fmla="*/ 257442 h 257442"/>
                <a:gd name="connsiteX3" fmla="*/ 0 w 1407655"/>
                <a:gd name="connsiteY3" fmla="*/ 0 h 257442"/>
                <a:gd name="connsiteX0" fmla="*/ 1575972 w 1575972"/>
                <a:gd name="connsiteY0" fmla="*/ 0 h 257442"/>
                <a:gd name="connsiteX1" fmla="*/ 1352935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829248 w 1829248"/>
                <a:gd name="connsiteY0" fmla="*/ 0 h 257442"/>
                <a:gd name="connsiteX1" fmla="*/ 1521251 w 1829248"/>
                <a:gd name="connsiteY1" fmla="*/ 257442 h 257442"/>
                <a:gd name="connsiteX2" fmla="*/ 0 w 1829248"/>
                <a:gd name="connsiteY2" fmla="*/ 257442 h 257442"/>
                <a:gd name="connsiteX3" fmla="*/ 1 w 1829248"/>
                <a:gd name="connsiteY3" fmla="*/ 0 h 257442"/>
                <a:gd name="connsiteX0" fmla="*/ 1829248 w 1829248"/>
                <a:gd name="connsiteY0" fmla="*/ 0 h 257442"/>
                <a:gd name="connsiteX1" fmla="*/ 1774526 w 1829248"/>
                <a:gd name="connsiteY1" fmla="*/ 257442 h 257442"/>
                <a:gd name="connsiteX2" fmla="*/ 0 w 1829248"/>
                <a:gd name="connsiteY2" fmla="*/ 257442 h 257442"/>
                <a:gd name="connsiteX3" fmla="*/ 1 w 1829248"/>
                <a:gd name="connsiteY3" fmla="*/ 0 h 257442"/>
                <a:gd name="connsiteX0" fmla="*/ 1829248 w 1829248"/>
                <a:gd name="connsiteY0" fmla="*/ 0 h 257442"/>
                <a:gd name="connsiteX1" fmla="*/ 1774526 w 1829248"/>
                <a:gd name="connsiteY1" fmla="*/ 257442 h 257442"/>
                <a:gd name="connsiteX2" fmla="*/ 0 w 1829248"/>
                <a:gd name="connsiteY2" fmla="*/ 257442 h 257442"/>
                <a:gd name="connsiteX3" fmla="*/ 1 w 1829248"/>
                <a:gd name="connsiteY3" fmla="*/ 0 h 257442"/>
                <a:gd name="connsiteX0" fmla="*/ 1829248 w 1829248"/>
                <a:gd name="connsiteY0" fmla="*/ 0 h 257442"/>
                <a:gd name="connsiteX1" fmla="*/ 1774526 w 1829248"/>
                <a:gd name="connsiteY1" fmla="*/ 257442 h 257442"/>
                <a:gd name="connsiteX2" fmla="*/ 0 w 1829248"/>
                <a:gd name="connsiteY2" fmla="*/ 257442 h 257442"/>
                <a:gd name="connsiteX3" fmla="*/ 0 w 1829248"/>
                <a:gd name="connsiteY3" fmla="*/ 0 h 257442"/>
                <a:gd name="connsiteX0" fmla="*/ 1989547 w 1989547"/>
                <a:gd name="connsiteY0" fmla="*/ 0 h 257442"/>
                <a:gd name="connsiteX1" fmla="*/ 17745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436784 w 2436784"/>
                <a:gd name="connsiteY0" fmla="*/ 0 h 257442"/>
                <a:gd name="connsiteX1" fmla="*/ 2095126 w 2436784"/>
                <a:gd name="connsiteY1" fmla="*/ 257442 h 257442"/>
                <a:gd name="connsiteX2" fmla="*/ 0 w 2436784"/>
                <a:gd name="connsiteY2" fmla="*/ 257442 h 257442"/>
                <a:gd name="connsiteX3" fmla="*/ 0 w 2436784"/>
                <a:gd name="connsiteY3" fmla="*/ 0 h 257442"/>
                <a:gd name="connsiteX0" fmla="*/ 2436784 w 2436784"/>
                <a:gd name="connsiteY0" fmla="*/ 0 h 257442"/>
                <a:gd name="connsiteX1" fmla="*/ 2382062 w 2436784"/>
                <a:gd name="connsiteY1" fmla="*/ 257442 h 257442"/>
                <a:gd name="connsiteX2" fmla="*/ 0 w 2436784"/>
                <a:gd name="connsiteY2" fmla="*/ 257442 h 257442"/>
                <a:gd name="connsiteX3" fmla="*/ 0 w 2436784"/>
                <a:gd name="connsiteY3" fmla="*/ 0 h 257442"/>
                <a:gd name="connsiteX0" fmla="*/ 2436785 w 2436785"/>
                <a:gd name="connsiteY0" fmla="*/ 0 h 257442"/>
                <a:gd name="connsiteX1" fmla="*/ 2382063 w 2436785"/>
                <a:gd name="connsiteY1" fmla="*/ 257442 h 257442"/>
                <a:gd name="connsiteX2" fmla="*/ 0 w 2436785"/>
                <a:gd name="connsiteY2" fmla="*/ 257442 h 257442"/>
                <a:gd name="connsiteX3" fmla="*/ 1 w 2436785"/>
                <a:gd name="connsiteY3" fmla="*/ 0 h 257442"/>
                <a:gd name="connsiteX0" fmla="*/ 2436785 w 2436785"/>
                <a:gd name="connsiteY0" fmla="*/ 0 h 257442"/>
                <a:gd name="connsiteX1" fmla="*/ 2382063 w 2436785"/>
                <a:gd name="connsiteY1" fmla="*/ 257442 h 257442"/>
                <a:gd name="connsiteX2" fmla="*/ 0 w 2436785"/>
                <a:gd name="connsiteY2" fmla="*/ 257442 h 257442"/>
                <a:gd name="connsiteX3" fmla="*/ 1 w 2436785"/>
                <a:gd name="connsiteY3" fmla="*/ 0 h 257442"/>
                <a:gd name="connsiteX0" fmla="*/ 2597086 w 2597086"/>
                <a:gd name="connsiteY0" fmla="*/ 0 h 257442"/>
                <a:gd name="connsiteX1" fmla="*/ 2382063 w 2597086"/>
                <a:gd name="connsiteY1" fmla="*/ 257442 h 257442"/>
                <a:gd name="connsiteX2" fmla="*/ 0 w 2597086"/>
                <a:gd name="connsiteY2" fmla="*/ 257442 h 257442"/>
                <a:gd name="connsiteX3" fmla="*/ 1 w 2597086"/>
                <a:gd name="connsiteY3" fmla="*/ 0 h 257442"/>
                <a:gd name="connsiteX0" fmla="*/ 2597086 w 2597086"/>
                <a:gd name="connsiteY0" fmla="*/ 0 h 257442"/>
                <a:gd name="connsiteX1" fmla="*/ 2542364 w 2597086"/>
                <a:gd name="connsiteY1" fmla="*/ 257442 h 257442"/>
                <a:gd name="connsiteX2" fmla="*/ 0 w 2597086"/>
                <a:gd name="connsiteY2" fmla="*/ 257442 h 257442"/>
                <a:gd name="connsiteX3" fmla="*/ 1 w 2597086"/>
                <a:gd name="connsiteY3" fmla="*/ 0 h 257442"/>
                <a:gd name="connsiteX0" fmla="*/ 2597086 w 2597086"/>
                <a:gd name="connsiteY0" fmla="*/ 0 h 257442"/>
                <a:gd name="connsiteX1" fmla="*/ 2542364 w 2597086"/>
                <a:gd name="connsiteY1" fmla="*/ 257442 h 257442"/>
                <a:gd name="connsiteX2" fmla="*/ 0 w 2597086"/>
                <a:gd name="connsiteY2" fmla="*/ 257442 h 257442"/>
                <a:gd name="connsiteX3" fmla="*/ 1 w 2597086"/>
                <a:gd name="connsiteY3" fmla="*/ 0 h 257442"/>
                <a:gd name="connsiteX0" fmla="*/ 2597086 w 2597086"/>
                <a:gd name="connsiteY0" fmla="*/ 0 h 257442"/>
                <a:gd name="connsiteX1" fmla="*/ 2542364 w 2597086"/>
                <a:gd name="connsiteY1" fmla="*/ 257442 h 257442"/>
                <a:gd name="connsiteX2" fmla="*/ 0 w 2597086"/>
                <a:gd name="connsiteY2" fmla="*/ 257442 h 257442"/>
                <a:gd name="connsiteX3" fmla="*/ 0 w 2597086"/>
                <a:gd name="connsiteY3" fmla="*/ 0 h 257442"/>
                <a:gd name="connsiteX0" fmla="*/ 2765400 w 2765400"/>
                <a:gd name="connsiteY0" fmla="*/ 0 h 257442"/>
                <a:gd name="connsiteX1" fmla="*/ 2542364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2765400 w 2765400"/>
                <a:gd name="connsiteY0" fmla="*/ 0 h 257442"/>
                <a:gd name="connsiteX1" fmla="*/ 2710679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2765400 w 2765400"/>
                <a:gd name="connsiteY0" fmla="*/ 0 h 257442"/>
                <a:gd name="connsiteX1" fmla="*/ 2710679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2765400 w 2765400"/>
                <a:gd name="connsiteY0" fmla="*/ 0 h 257442"/>
                <a:gd name="connsiteX1" fmla="*/ 2710679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3034705 w 3034705"/>
                <a:gd name="connsiteY0" fmla="*/ 0 h 257442"/>
                <a:gd name="connsiteX1" fmla="*/ 2710679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034705 w 3034705"/>
                <a:gd name="connsiteY0" fmla="*/ 0 h 257442"/>
                <a:gd name="connsiteX1" fmla="*/ 2979984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034705 w 3034705"/>
                <a:gd name="connsiteY0" fmla="*/ 0 h 257442"/>
                <a:gd name="connsiteX1" fmla="*/ 2979984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034705 w 3034705"/>
                <a:gd name="connsiteY0" fmla="*/ 0 h 257442"/>
                <a:gd name="connsiteX1" fmla="*/ 2979984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290288 w 3290288"/>
                <a:gd name="connsiteY0" fmla="*/ 0 h 257442"/>
                <a:gd name="connsiteX1" fmla="*/ 2979984 w 3290288"/>
                <a:gd name="connsiteY1" fmla="*/ 257442 h 257442"/>
                <a:gd name="connsiteX2" fmla="*/ 0 w 3290288"/>
                <a:gd name="connsiteY2" fmla="*/ 257442 h 257442"/>
                <a:gd name="connsiteX3" fmla="*/ 0 w 3290288"/>
                <a:gd name="connsiteY3" fmla="*/ 0 h 257442"/>
                <a:gd name="connsiteX0" fmla="*/ 3290288 w 3290288"/>
                <a:gd name="connsiteY0" fmla="*/ 0 h 257442"/>
                <a:gd name="connsiteX1" fmla="*/ 3235566 w 3290288"/>
                <a:gd name="connsiteY1" fmla="*/ 257442 h 257442"/>
                <a:gd name="connsiteX2" fmla="*/ 0 w 3290288"/>
                <a:gd name="connsiteY2" fmla="*/ 257442 h 257442"/>
                <a:gd name="connsiteX3" fmla="*/ 0 w 3290288"/>
                <a:gd name="connsiteY3" fmla="*/ 0 h 257442"/>
                <a:gd name="connsiteX0" fmla="*/ 3290289 w 3290289"/>
                <a:gd name="connsiteY0" fmla="*/ 0 h 257442"/>
                <a:gd name="connsiteX1" fmla="*/ 3235567 w 3290289"/>
                <a:gd name="connsiteY1" fmla="*/ 257442 h 257442"/>
                <a:gd name="connsiteX2" fmla="*/ 0 w 3290289"/>
                <a:gd name="connsiteY2" fmla="*/ 257442 h 257442"/>
                <a:gd name="connsiteX3" fmla="*/ 1 w 3290289"/>
                <a:gd name="connsiteY3" fmla="*/ 0 h 257442"/>
                <a:gd name="connsiteX0" fmla="*/ 3290289 w 3290289"/>
                <a:gd name="connsiteY0" fmla="*/ 0 h 257442"/>
                <a:gd name="connsiteX1" fmla="*/ 3235567 w 3290289"/>
                <a:gd name="connsiteY1" fmla="*/ 257442 h 257442"/>
                <a:gd name="connsiteX2" fmla="*/ 0 w 3290289"/>
                <a:gd name="connsiteY2" fmla="*/ 257442 h 257442"/>
                <a:gd name="connsiteX3" fmla="*/ 1 w 3290289"/>
                <a:gd name="connsiteY3" fmla="*/ 0 h 257442"/>
                <a:gd name="connsiteX0" fmla="*/ 3450589 w 3450589"/>
                <a:gd name="connsiteY0" fmla="*/ 0 h 257442"/>
                <a:gd name="connsiteX1" fmla="*/ 3235567 w 3450589"/>
                <a:gd name="connsiteY1" fmla="*/ 257442 h 257442"/>
                <a:gd name="connsiteX2" fmla="*/ 0 w 3450589"/>
                <a:gd name="connsiteY2" fmla="*/ 257442 h 257442"/>
                <a:gd name="connsiteX3" fmla="*/ 1 w 3450589"/>
                <a:gd name="connsiteY3" fmla="*/ 0 h 257442"/>
                <a:gd name="connsiteX0" fmla="*/ 3450589 w 3450589"/>
                <a:gd name="connsiteY0" fmla="*/ 0 h 257442"/>
                <a:gd name="connsiteX1" fmla="*/ 3395868 w 3450589"/>
                <a:gd name="connsiteY1" fmla="*/ 257442 h 257442"/>
                <a:gd name="connsiteX2" fmla="*/ 0 w 3450589"/>
                <a:gd name="connsiteY2" fmla="*/ 257442 h 257442"/>
                <a:gd name="connsiteX3" fmla="*/ 1 w 3450589"/>
                <a:gd name="connsiteY3" fmla="*/ 0 h 257442"/>
                <a:gd name="connsiteX0" fmla="*/ 3450588 w 3450588"/>
                <a:gd name="connsiteY0" fmla="*/ 0 h 257442"/>
                <a:gd name="connsiteX1" fmla="*/ 3395867 w 3450588"/>
                <a:gd name="connsiteY1" fmla="*/ 257442 h 257442"/>
                <a:gd name="connsiteX2" fmla="*/ 0 w 3450588"/>
                <a:gd name="connsiteY2" fmla="*/ 257442 h 257442"/>
                <a:gd name="connsiteX3" fmla="*/ 0 w 3450588"/>
                <a:gd name="connsiteY3" fmla="*/ 0 h 257442"/>
                <a:gd name="connsiteX0" fmla="*/ 3450589 w 3450589"/>
                <a:gd name="connsiteY0" fmla="*/ 0 h 257442"/>
                <a:gd name="connsiteX1" fmla="*/ 3395868 w 3450589"/>
                <a:gd name="connsiteY1" fmla="*/ 257442 h 257442"/>
                <a:gd name="connsiteX2" fmla="*/ 1 w 3450589"/>
                <a:gd name="connsiteY2" fmla="*/ 257442 h 257442"/>
                <a:gd name="connsiteX3" fmla="*/ 0 w 3450589"/>
                <a:gd name="connsiteY3" fmla="*/ 0 h 257442"/>
                <a:gd name="connsiteX0" fmla="*/ 3610889 w 3610889"/>
                <a:gd name="connsiteY0" fmla="*/ 0 h 257442"/>
                <a:gd name="connsiteX1" fmla="*/ 3395868 w 3610889"/>
                <a:gd name="connsiteY1" fmla="*/ 257442 h 257442"/>
                <a:gd name="connsiteX2" fmla="*/ 1 w 3610889"/>
                <a:gd name="connsiteY2" fmla="*/ 257442 h 257442"/>
                <a:gd name="connsiteX3" fmla="*/ 0 w 3610889"/>
                <a:gd name="connsiteY3" fmla="*/ 0 h 257442"/>
                <a:gd name="connsiteX0" fmla="*/ 3610889 w 3610889"/>
                <a:gd name="connsiteY0" fmla="*/ 0 h 257442"/>
                <a:gd name="connsiteX1" fmla="*/ 3556168 w 3610889"/>
                <a:gd name="connsiteY1" fmla="*/ 257442 h 257442"/>
                <a:gd name="connsiteX2" fmla="*/ 1 w 3610889"/>
                <a:gd name="connsiteY2" fmla="*/ 257442 h 257442"/>
                <a:gd name="connsiteX3" fmla="*/ 0 w 3610889"/>
                <a:gd name="connsiteY3" fmla="*/ 0 h 257442"/>
                <a:gd name="connsiteX0" fmla="*/ 3610889 w 3610889"/>
                <a:gd name="connsiteY0" fmla="*/ 0 h 257442"/>
                <a:gd name="connsiteX1" fmla="*/ 3556168 w 3610889"/>
                <a:gd name="connsiteY1" fmla="*/ 257442 h 257442"/>
                <a:gd name="connsiteX2" fmla="*/ 1 w 3610889"/>
                <a:gd name="connsiteY2" fmla="*/ 257442 h 257442"/>
                <a:gd name="connsiteX3" fmla="*/ 0 w 3610889"/>
                <a:gd name="connsiteY3" fmla="*/ 0 h 257442"/>
                <a:gd name="connsiteX0" fmla="*/ 3610888 w 3610888"/>
                <a:gd name="connsiteY0" fmla="*/ 0 h 257442"/>
                <a:gd name="connsiteX1" fmla="*/ 3556167 w 3610888"/>
                <a:gd name="connsiteY1" fmla="*/ 257442 h 257442"/>
                <a:gd name="connsiteX2" fmla="*/ 0 w 3610888"/>
                <a:gd name="connsiteY2" fmla="*/ 257442 h 257442"/>
                <a:gd name="connsiteX3" fmla="*/ 0 w 3610888"/>
                <a:gd name="connsiteY3" fmla="*/ 0 h 257442"/>
                <a:gd name="connsiteX0" fmla="*/ 3779202 w 3779202"/>
                <a:gd name="connsiteY0" fmla="*/ 0 h 257442"/>
                <a:gd name="connsiteX1" fmla="*/ 3556167 w 3779202"/>
                <a:gd name="connsiteY1" fmla="*/ 257442 h 257442"/>
                <a:gd name="connsiteX2" fmla="*/ 0 w 3779202"/>
                <a:gd name="connsiteY2" fmla="*/ 257442 h 257442"/>
                <a:gd name="connsiteX3" fmla="*/ 0 w 3779202"/>
                <a:gd name="connsiteY3" fmla="*/ 0 h 257442"/>
                <a:gd name="connsiteX0" fmla="*/ 3779202 w 3779202"/>
                <a:gd name="connsiteY0" fmla="*/ 0 h 257442"/>
                <a:gd name="connsiteX1" fmla="*/ 3724481 w 3779202"/>
                <a:gd name="connsiteY1" fmla="*/ 257442 h 257442"/>
                <a:gd name="connsiteX2" fmla="*/ 0 w 3779202"/>
                <a:gd name="connsiteY2" fmla="*/ 257442 h 257442"/>
                <a:gd name="connsiteX3" fmla="*/ 0 w 3779202"/>
                <a:gd name="connsiteY3" fmla="*/ 0 h 257442"/>
                <a:gd name="connsiteX0" fmla="*/ 3779203 w 3779203"/>
                <a:gd name="connsiteY0" fmla="*/ 0 h 257442"/>
                <a:gd name="connsiteX1" fmla="*/ 3724482 w 3779203"/>
                <a:gd name="connsiteY1" fmla="*/ 257442 h 257442"/>
                <a:gd name="connsiteX2" fmla="*/ 0 w 3779203"/>
                <a:gd name="connsiteY2" fmla="*/ 257442 h 257442"/>
                <a:gd name="connsiteX3" fmla="*/ 1 w 3779203"/>
                <a:gd name="connsiteY3" fmla="*/ 0 h 257442"/>
                <a:gd name="connsiteX0" fmla="*/ 3779203 w 3779203"/>
                <a:gd name="connsiteY0" fmla="*/ 0 h 257442"/>
                <a:gd name="connsiteX1" fmla="*/ 3724482 w 3779203"/>
                <a:gd name="connsiteY1" fmla="*/ 257442 h 257442"/>
                <a:gd name="connsiteX2" fmla="*/ 0 w 3779203"/>
                <a:gd name="connsiteY2" fmla="*/ 257442 h 257442"/>
                <a:gd name="connsiteX3" fmla="*/ 1 w 3779203"/>
                <a:gd name="connsiteY3" fmla="*/ 0 h 257442"/>
                <a:gd name="connsiteX0" fmla="*/ 4099805 w 4099805"/>
                <a:gd name="connsiteY0" fmla="*/ 0 h 257442"/>
                <a:gd name="connsiteX1" fmla="*/ 3724482 w 4099805"/>
                <a:gd name="connsiteY1" fmla="*/ 257442 h 257442"/>
                <a:gd name="connsiteX2" fmla="*/ 0 w 4099805"/>
                <a:gd name="connsiteY2" fmla="*/ 257442 h 257442"/>
                <a:gd name="connsiteX3" fmla="*/ 1 w 4099805"/>
                <a:gd name="connsiteY3" fmla="*/ 0 h 257442"/>
                <a:gd name="connsiteX0" fmla="*/ 4099805 w 4099805"/>
                <a:gd name="connsiteY0" fmla="*/ 0 h 257442"/>
                <a:gd name="connsiteX1" fmla="*/ 4045084 w 4099805"/>
                <a:gd name="connsiteY1" fmla="*/ 257442 h 257442"/>
                <a:gd name="connsiteX2" fmla="*/ 0 w 4099805"/>
                <a:gd name="connsiteY2" fmla="*/ 257442 h 257442"/>
                <a:gd name="connsiteX3" fmla="*/ 1 w 4099805"/>
                <a:gd name="connsiteY3" fmla="*/ 0 h 257442"/>
                <a:gd name="connsiteX0" fmla="*/ 4099804 w 4099804"/>
                <a:gd name="connsiteY0" fmla="*/ 0 h 257442"/>
                <a:gd name="connsiteX1" fmla="*/ 4045083 w 4099804"/>
                <a:gd name="connsiteY1" fmla="*/ 257442 h 257442"/>
                <a:gd name="connsiteX2" fmla="*/ 0 w 4099804"/>
                <a:gd name="connsiteY2" fmla="*/ 257442 h 257442"/>
                <a:gd name="connsiteX3" fmla="*/ 0 w 4099804"/>
                <a:gd name="connsiteY3" fmla="*/ 0 h 257442"/>
                <a:gd name="connsiteX0" fmla="*/ 4099805 w 4099805"/>
                <a:gd name="connsiteY0" fmla="*/ 0 h 257442"/>
                <a:gd name="connsiteX1" fmla="*/ 4045084 w 4099805"/>
                <a:gd name="connsiteY1" fmla="*/ 257442 h 257442"/>
                <a:gd name="connsiteX2" fmla="*/ 1 w 4099805"/>
                <a:gd name="connsiteY2" fmla="*/ 257442 h 257442"/>
                <a:gd name="connsiteX3" fmla="*/ 0 w 4099805"/>
                <a:gd name="connsiteY3" fmla="*/ 0 h 257442"/>
                <a:gd name="connsiteX0" fmla="*/ 4378727 w 4378727"/>
                <a:gd name="connsiteY0" fmla="*/ 0 h 257442"/>
                <a:gd name="connsiteX1" fmla="*/ 4045084 w 4378727"/>
                <a:gd name="connsiteY1" fmla="*/ 257442 h 257442"/>
                <a:gd name="connsiteX2" fmla="*/ 1 w 4378727"/>
                <a:gd name="connsiteY2" fmla="*/ 257442 h 257442"/>
                <a:gd name="connsiteX3" fmla="*/ 0 w 4378727"/>
                <a:gd name="connsiteY3" fmla="*/ 0 h 257442"/>
                <a:gd name="connsiteX0" fmla="*/ 4378727 w 4378727"/>
                <a:gd name="connsiteY0" fmla="*/ 0 h 257442"/>
                <a:gd name="connsiteX1" fmla="*/ 4324006 w 4378727"/>
                <a:gd name="connsiteY1" fmla="*/ 257442 h 257442"/>
                <a:gd name="connsiteX2" fmla="*/ 1 w 4378727"/>
                <a:gd name="connsiteY2" fmla="*/ 257442 h 257442"/>
                <a:gd name="connsiteX3" fmla="*/ 0 w 4378727"/>
                <a:gd name="connsiteY3" fmla="*/ 0 h 257442"/>
                <a:gd name="connsiteX0" fmla="*/ 4378727 w 4378727"/>
                <a:gd name="connsiteY0" fmla="*/ 0 h 257442"/>
                <a:gd name="connsiteX1" fmla="*/ 4324006 w 4378727"/>
                <a:gd name="connsiteY1" fmla="*/ 257442 h 257442"/>
                <a:gd name="connsiteX2" fmla="*/ 1 w 4378727"/>
                <a:gd name="connsiteY2" fmla="*/ 257442 h 257442"/>
                <a:gd name="connsiteX3" fmla="*/ 0 w 4378727"/>
                <a:gd name="connsiteY3" fmla="*/ 0 h 257442"/>
                <a:gd name="connsiteX0" fmla="*/ 4378726 w 4378726"/>
                <a:gd name="connsiteY0" fmla="*/ 0 h 257442"/>
                <a:gd name="connsiteX1" fmla="*/ 4324005 w 4378726"/>
                <a:gd name="connsiteY1" fmla="*/ 257442 h 257442"/>
                <a:gd name="connsiteX2" fmla="*/ 0 w 4378726"/>
                <a:gd name="connsiteY2" fmla="*/ 257442 h 257442"/>
                <a:gd name="connsiteX3" fmla="*/ 0 w 4378726"/>
                <a:gd name="connsiteY3" fmla="*/ 0 h 257442"/>
                <a:gd name="connsiteX0" fmla="*/ 4547041 w 4547041"/>
                <a:gd name="connsiteY0" fmla="*/ 0 h 257442"/>
                <a:gd name="connsiteX1" fmla="*/ 4324005 w 4547041"/>
                <a:gd name="connsiteY1" fmla="*/ 257442 h 257442"/>
                <a:gd name="connsiteX2" fmla="*/ 0 w 4547041"/>
                <a:gd name="connsiteY2" fmla="*/ 257442 h 257442"/>
                <a:gd name="connsiteX3" fmla="*/ 0 w 4547041"/>
                <a:gd name="connsiteY3" fmla="*/ 0 h 257442"/>
                <a:gd name="connsiteX0" fmla="*/ 4547041 w 4547041"/>
                <a:gd name="connsiteY0" fmla="*/ 0 h 257442"/>
                <a:gd name="connsiteX1" fmla="*/ 4492320 w 4547041"/>
                <a:gd name="connsiteY1" fmla="*/ 257442 h 257442"/>
                <a:gd name="connsiteX2" fmla="*/ 0 w 4547041"/>
                <a:gd name="connsiteY2" fmla="*/ 257442 h 257442"/>
                <a:gd name="connsiteX3" fmla="*/ 0 w 4547041"/>
                <a:gd name="connsiteY3" fmla="*/ 0 h 257442"/>
                <a:gd name="connsiteX0" fmla="*/ 4547042 w 4547042"/>
                <a:gd name="connsiteY0" fmla="*/ 0 h 257442"/>
                <a:gd name="connsiteX1" fmla="*/ 4492321 w 4547042"/>
                <a:gd name="connsiteY1" fmla="*/ 257442 h 257442"/>
                <a:gd name="connsiteX2" fmla="*/ 0 w 4547042"/>
                <a:gd name="connsiteY2" fmla="*/ 257442 h 257442"/>
                <a:gd name="connsiteX3" fmla="*/ 1 w 4547042"/>
                <a:gd name="connsiteY3" fmla="*/ 0 h 257442"/>
                <a:gd name="connsiteX0" fmla="*/ 4547042 w 4547042"/>
                <a:gd name="connsiteY0" fmla="*/ 0 h 257442"/>
                <a:gd name="connsiteX1" fmla="*/ 4492321 w 4547042"/>
                <a:gd name="connsiteY1" fmla="*/ 257442 h 257442"/>
                <a:gd name="connsiteX2" fmla="*/ 0 w 4547042"/>
                <a:gd name="connsiteY2" fmla="*/ 257442 h 257442"/>
                <a:gd name="connsiteX3" fmla="*/ 0 w 4547042"/>
                <a:gd name="connsiteY3" fmla="*/ 0 h 257442"/>
                <a:gd name="connsiteX0" fmla="*/ 950801 w 4492321"/>
                <a:gd name="connsiteY0" fmla="*/ 0 h 257442"/>
                <a:gd name="connsiteX1" fmla="*/ 4492321 w 4492321"/>
                <a:gd name="connsiteY1" fmla="*/ 257442 h 257442"/>
                <a:gd name="connsiteX2" fmla="*/ 0 w 4492321"/>
                <a:gd name="connsiteY2" fmla="*/ 257442 h 257442"/>
                <a:gd name="connsiteX3" fmla="*/ 0 w 449232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212089 w 1212089"/>
                <a:gd name="connsiteY0" fmla="*/ 0 h 257442"/>
                <a:gd name="connsiteX1" fmla="*/ 896080 w 1212089"/>
                <a:gd name="connsiteY1" fmla="*/ 257442 h 257442"/>
                <a:gd name="connsiteX2" fmla="*/ 0 w 1212089"/>
                <a:gd name="connsiteY2" fmla="*/ 257442 h 257442"/>
                <a:gd name="connsiteX3" fmla="*/ 0 w 1212089"/>
                <a:gd name="connsiteY3" fmla="*/ 0 h 257442"/>
                <a:gd name="connsiteX0" fmla="*/ 1212089 w 1212089"/>
                <a:gd name="connsiteY0" fmla="*/ 0 h 257442"/>
                <a:gd name="connsiteX1" fmla="*/ 1157368 w 1212089"/>
                <a:gd name="connsiteY1" fmla="*/ 257442 h 257442"/>
                <a:gd name="connsiteX2" fmla="*/ 0 w 1212089"/>
                <a:gd name="connsiteY2" fmla="*/ 257442 h 257442"/>
                <a:gd name="connsiteX3" fmla="*/ 0 w 1212089"/>
                <a:gd name="connsiteY3" fmla="*/ 0 h 257442"/>
                <a:gd name="connsiteX0" fmla="*/ 1212090 w 1212090"/>
                <a:gd name="connsiteY0" fmla="*/ 0 h 257442"/>
                <a:gd name="connsiteX1" fmla="*/ 1157369 w 1212090"/>
                <a:gd name="connsiteY1" fmla="*/ 257442 h 257442"/>
                <a:gd name="connsiteX2" fmla="*/ 0 w 1212090"/>
                <a:gd name="connsiteY2" fmla="*/ 257442 h 257442"/>
                <a:gd name="connsiteX3" fmla="*/ 1 w 1212090"/>
                <a:gd name="connsiteY3" fmla="*/ 0 h 257442"/>
                <a:gd name="connsiteX0" fmla="*/ 1212090 w 1212090"/>
                <a:gd name="connsiteY0" fmla="*/ 0 h 257442"/>
                <a:gd name="connsiteX1" fmla="*/ 1157369 w 1212090"/>
                <a:gd name="connsiteY1" fmla="*/ 257442 h 257442"/>
                <a:gd name="connsiteX2" fmla="*/ 0 w 1212090"/>
                <a:gd name="connsiteY2" fmla="*/ 257442 h 257442"/>
                <a:gd name="connsiteX3" fmla="*/ 0 w 1212090"/>
                <a:gd name="connsiteY3" fmla="*/ 0 h 257442"/>
                <a:gd name="connsiteX0" fmla="*/ 1465365 w 1465365"/>
                <a:gd name="connsiteY0" fmla="*/ 0 h 257442"/>
                <a:gd name="connsiteX1" fmla="*/ 1157369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633680 w 1633680"/>
                <a:gd name="connsiteY0" fmla="*/ 0 h 257442"/>
                <a:gd name="connsiteX1" fmla="*/ 1410644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8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1 w 1633681"/>
                <a:gd name="connsiteY0" fmla="*/ 0 h 257442"/>
                <a:gd name="connsiteX1" fmla="*/ 1578959 w 1633681"/>
                <a:gd name="connsiteY1" fmla="*/ 257442 h 257442"/>
                <a:gd name="connsiteX2" fmla="*/ 0 w 1633681"/>
                <a:gd name="connsiteY2" fmla="*/ 257442 h 257442"/>
                <a:gd name="connsiteX3" fmla="*/ 1 w 1633681"/>
                <a:gd name="connsiteY3" fmla="*/ 0 h 257442"/>
                <a:gd name="connsiteX0" fmla="*/ 1633681 w 1633681"/>
                <a:gd name="connsiteY0" fmla="*/ 0 h 257442"/>
                <a:gd name="connsiteX1" fmla="*/ 1578959 w 1633681"/>
                <a:gd name="connsiteY1" fmla="*/ 257442 h 257442"/>
                <a:gd name="connsiteX2" fmla="*/ 0 w 1633681"/>
                <a:gd name="connsiteY2" fmla="*/ 257442 h 257442"/>
                <a:gd name="connsiteX3" fmla="*/ 1 w 1633681"/>
                <a:gd name="connsiteY3" fmla="*/ 0 h 257442"/>
                <a:gd name="connsiteX0" fmla="*/ 1801996 w 1801996"/>
                <a:gd name="connsiteY0" fmla="*/ 0 h 257442"/>
                <a:gd name="connsiteX1" fmla="*/ 1578959 w 1801996"/>
                <a:gd name="connsiteY1" fmla="*/ 257442 h 257442"/>
                <a:gd name="connsiteX2" fmla="*/ 0 w 1801996"/>
                <a:gd name="connsiteY2" fmla="*/ 257442 h 257442"/>
                <a:gd name="connsiteX3" fmla="*/ 1 w 1801996"/>
                <a:gd name="connsiteY3" fmla="*/ 0 h 257442"/>
                <a:gd name="connsiteX0" fmla="*/ 1801996 w 1801996"/>
                <a:gd name="connsiteY0" fmla="*/ 0 h 257442"/>
                <a:gd name="connsiteX1" fmla="*/ 1747274 w 1801996"/>
                <a:gd name="connsiteY1" fmla="*/ 257442 h 257442"/>
                <a:gd name="connsiteX2" fmla="*/ 0 w 1801996"/>
                <a:gd name="connsiteY2" fmla="*/ 257442 h 257442"/>
                <a:gd name="connsiteX3" fmla="*/ 1 w 1801996"/>
                <a:gd name="connsiteY3" fmla="*/ 0 h 257442"/>
                <a:gd name="connsiteX0" fmla="*/ 1801996 w 1801996"/>
                <a:gd name="connsiteY0" fmla="*/ 0 h 257442"/>
                <a:gd name="connsiteX1" fmla="*/ 1747274 w 1801996"/>
                <a:gd name="connsiteY1" fmla="*/ 257442 h 257442"/>
                <a:gd name="connsiteX2" fmla="*/ 0 w 1801996"/>
                <a:gd name="connsiteY2" fmla="*/ 257442 h 257442"/>
                <a:gd name="connsiteX3" fmla="*/ 1 w 1801996"/>
                <a:gd name="connsiteY3" fmla="*/ 0 h 257442"/>
                <a:gd name="connsiteX0" fmla="*/ 1801996 w 1801996"/>
                <a:gd name="connsiteY0" fmla="*/ 0 h 257442"/>
                <a:gd name="connsiteX1" fmla="*/ 1747274 w 1801996"/>
                <a:gd name="connsiteY1" fmla="*/ 257442 h 257442"/>
                <a:gd name="connsiteX2" fmla="*/ 0 w 1801996"/>
                <a:gd name="connsiteY2" fmla="*/ 257442 h 257442"/>
                <a:gd name="connsiteX3" fmla="*/ 0 w 1801996"/>
                <a:gd name="connsiteY3" fmla="*/ 0 h 257442"/>
                <a:gd name="connsiteX0" fmla="*/ 2055270 w 2055270"/>
                <a:gd name="connsiteY0" fmla="*/ 0 h 257442"/>
                <a:gd name="connsiteX1" fmla="*/ 1747274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215570 w 2215570"/>
                <a:gd name="connsiteY0" fmla="*/ 0 h 257442"/>
                <a:gd name="connsiteX1" fmla="*/ 20005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375870 w 2375870"/>
                <a:gd name="connsiteY0" fmla="*/ 0 h 257442"/>
                <a:gd name="connsiteX1" fmla="*/ 21608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375870 w 2375870"/>
                <a:gd name="connsiteY0" fmla="*/ 0 h 257442"/>
                <a:gd name="connsiteX1" fmla="*/ 23211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375870 w 2375870"/>
                <a:gd name="connsiteY0" fmla="*/ 0 h 257442"/>
                <a:gd name="connsiteX1" fmla="*/ 23211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375870 w 2375870"/>
                <a:gd name="connsiteY0" fmla="*/ 0 h 257442"/>
                <a:gd name="connsiteX1" fmla="*/ 23211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645175 w 2645175"/>
                <a:gd name="connsiteY0" fmla="*/ 0 h 257442"/>
                <a:gd name="connsiteX1" fmla="*/ 2321149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981805 w 2981805"/>
                <a:gd name="connsiteY0" fmla="*/ 0 h 257442"/>
                <a:gd name="connsiteX1" fmla="*/ 2758770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813491 w 2927084"/>
                <a:gd name="connsiteY0" fmla="*/ 0 h 257442"/>
                <a:gd name="connsiteX1" fmla="*/ 2927084 w 2927084"/>
                <a:gd name="connsiteY1" fmla="*/ 257442 h 257442"/>
                <a:gd name="connsiteX2" fmla="*/ 0 w 2927084"/>
                <a:gd name="connsiteY2" fmla="*/ 257442 h 257442"/>
                <a:gd name="connsiteX3" fmla="*/ 0 w 2927084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1 w 2813491"/>
                <a:gd name="connsiteY2" fmla="*/ 257442 h 257442"/>
                <a:gd name="connsiteX3" fmla="*/ 0 w 2813491"/>
                <a:gd name="connsiteY3" fmla="*/ 0 h 257442"/>
                <a:gd name="connsiteX0" fmla="*/ 2813490 w 2813490"/>
                <a:gd name="connsiteY0" fmla="*/ 0 h 257442"/>
                <a:gd name="connsiteX1" fmla="*/ 2758769 w 2813490"/>
                <a:gd name="connsiteY1" fmla="*/ 257442 h 257442"/>
                <a:gd name="connsiteX2" fmla="*/ 0 w 2813490"/>
                <a:gd name="connsiteY2" fmla="*/ 257442 h 257442"/>
                <a:gd name="connsiteX3" fmla="*/ 0 w 2813490"/>
                <a:gd name="connsiteY3" fmla="*/ 0 h 257442"/>
                <a:gd name="connsiteX0" fmla="*/ 2981804 w 2981804"/>
                <a:gd name="connsiteY0" fmla="*/ 0 h 257442"/>
                <a:gd name="connsiteX1" fmla="*/ 2758769 w 2981804"/>
                <a:gd name="connsiteY1" fmla="*/ 257442 h 257442"/>
                <a:gd name="connsiteX2" fmla="*/ 0 w 2981804"/>
                <a:gd name="connsiteY2" fmla="*/ 257442 h 257442"/>
                <a:gd name="connsiteX3" fmla="*/ 0 w 2981804"/>
                <a:gd name="connsiteY3" fmla="*/ 0 h 257442"/>
                <a:gd name="connsiteX0" fmla="*/ 2981804 w 2981804"/>
                <a:gd name="connsiteY0" fmla="*/ 0 h 257442"/>
                <a:gd name="connsiteX1" fmla="*/ 2927083 w 2981804"/>
                <a:gd name="connsiteY1" fmla="*/ 257442 h 257442"/>
                <a:gd name="connsiteX2" fmla="*/ 0 w 2981804"/>
                <a:gd name="connsiteY2" fmla="*/ 257442 h 257442"/>
                <a:gd name="connsiteX3" fmla="*/ 0 w 2981804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1 w 2981805"/>
                <a:gd name="connsiteY3" fmla="*/ 0 h 257442"/>
                <a:gd name="connsiteX0" fmla="*/ 3150122 w 3150122"/>
                <a:gd name="connsiteY0" fmla="*/ 0 h 257442"/>
                <a:gd name="connsiteX1" fmla="*/ 2927084 w 3150122"/>
                <a:gd name="connsiteY1" fmla="*/ 257442 h 257442"/>
                <a:gd name="connsiteX2" fmla="*/ 0 w 3150122"/>
                <a:gd name="connsiteY2" fmla="*/ 257442 h 257442"/>
                <a:gd name="connsiteX3" fmla="*/ 1 w 3150122"/>
                <a:gd name="connsiteY3" fmla="*/ 0 h 257442"/>
                <a:gd name="connsiteX0" fmla="*/ 3150122 w 3150122"/>
                <a:gd name="connsiteY0" fmla="*/ 0 h 257442"/>
                <a:gd name="connsiteX1" fmla="*/ 3095400 w 3150122"/>
                <a:gd name="connsiteY1" fmla="*/ 257442 h 257442"/>
                <a:gd name="connsiteX2" fmla="*/ 0 w 3150122"/>
                <a:gd name="connsiteY2" fmla="*/ 257442 h 257442"/>
                <a:gd name="connsiteX3" fmla="*/ 1 w 3150122"/>
                <a:gd name="connsiteY3" fmla="*/ 0 h 257442"/>
                <a:gd name="connsiteX0" fmla="*/ 3150122 w 3150122"/>
                <a:gd name="connsiteY0" fmla="*/ 0 h 257442"/>
                <a:gd name="connsiteX1" fmla="*/ 3095400 w 3150122"/>
                <a:gd name="connsiteY1" fmla="*/ 257442 h 257442"/>
                <a:gd name="connsiteX2" fmla="*/ 0 w 3150122"/>
                <a:gd name="connsiteY2" fmla="*/ 257442 h 257442"/>
                <a:gd name="connsiteX3" fmla="*/ 1 w 3150122"/>
                <a:gd name="connsiteY3" fmla="*/ 0 h 257442"/>
                <a:gd name="connsiteX0" fmla="*/ 3150122 w 3150122"/>
                <a:gd name="connsiteY0" fmla="*/ 0 h 257442"/>
                <a:gd name="connsiteX1" fmla="*/ 3095400 w 3150122"/>
                <a:gd name="connsiteY1" fmla="*/ 257442 h 257442"/>
                <a:gd name="connsiteX2" fmla="*/ 0 w 3150122"/>
                <a:gd name="connsiteY2" fmla="*/ 257442 h 257442"/>
                <a:gd name="connsiteX3" fmla="*/ 0 w 3150122"/>
                <a:gd name="connsiteY3" fmla="*/ 0 h 257442"/>
                <a:gd name="connsiteX0" fmla="*/ 3318436 w 3318436"/>
                <a:gd name="connsiteY0" fmla="*/ 0 h 257442"/>
                <a:gd name="connsiteX1" fmla="*/ 3095400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5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5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5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968434 w 3263715"/>
                <a:gd name="connsiteY0" fmla="*/ 0 h 257442"/>
                <a:gd name="connsiteX1" fmla="*/ 3263715 w 3263715"/>
                <a:gd name="connsiteY1" fmla="*/ 257442 h 257442"/>
                <a:gd name="connsiteX2" fmla="*/ 0 w 3263715"/>
                <a:gd name="connsiteY2" fmla="*/ 257442 h 257442"/>
                <a:gd name="connsiteX3" fmla="*/ 0 w 3263715"/>
                <a:gd name="connsiteY3" fmla="*/ 0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1 w 968434"/>
                <a:gd name="connsiteY2" fmla="*/ 257442 h 257442"/>
                <a:gd name="connsiteX3" fmla="*/ 0 w 968434"/>
                <a:gd name="connsiteY3" fmla="*/ 0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297051 w 1297051"/>
                <a:gd name="connsiteY0" fmla="*/ 0 h 257442"/>
                <a:gd name="connsiteX1" fmla="*/ 1074013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1 w 1297051"/>
                <a:gd name="connsiteY2" fmla="*/ 257442 h 257442"/>
                <a:gd name="connsiteX3" fmla="*/ 0 w 1297051"/>
                <a:gd name="connsiteY3" fmla="*/ 0 h 257442"/>
                <a:gd name="connsiteX0" fmla="*/ 1566355 w 1566355"/>
                <a:gd name="connsiteY0" fmla="*/ 0 h 257442"/>
                <a:gd name="connsiteX1" fmla="*/ 1242330 w 1566355"/>
                <a:gd name="connsiteY1" fmla="*/ 257442 h 257442"/>
                <a:gd name="connsiteX2" fmla="*/ 1 w 1566355"/>
                <a:gd name="connsiteY2" fmla="*/ 257442 h 257442"/>
                <a:gd name="connsiteX3" fmla="*/ 0 w 1566355"/>
                <a:gd name="connsiteY3" fmla="*/ 0 h 257442"/>
                <a:gd name="connsiteX0" fmla="*/ 1566355 w 1566355"/>
                <a:gd name="connsiteY0" fmla="*/ 0 h 257442"/>
                <a:gd name="connsiteX1" fmla="*/ 1511634 w 1566355"/>
                <a:gd name="connsiteY1" fmla="*/ 257442 h 257442"/>
                <a:gd name="connsiteX2" fmla="*/ 1 w 1566355"/>
                <a:gd name="connsiteY2" fmla="*/ 257442 h 257442"/>
                <a:gd name="connsiteX3" fmla="*/ 0 w 1566355"/>
                <a:gd name="connsiteY3" fmla="*/ 0 h 257442"/>
                <a:gd name="connsiteX0" fmla="*/ 1566355 w 1566355"/>
                <a:gd name="connsiteY0" fmla="*/ 0 h 257442"/>
                <a:gd name="connsiteX1" fmla="*/ 1511634 w 1566355"/>
                <a:gd name="connsiteY1" fmla="*/ 257442 h 257442"/>
                <a:gd name="connsiteX2" fmla="*/ 1 w 1566355"/>
                <a:gd name="connsiteY2" fmla="*/ 257442 h 257442"/>
                <a:gd name="connsiteX3" fmla="*/ 0 w 1566355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821936 w 1821936"/>
                <a:gd name="connsiteY0" fmla="*/ 0 h 257442"/>
                <a:gd name="connsiteX1" fmla="*/ 1511633 w 1821936"/>
                <a:gd name="connsiteY1" fmla="*/ 257442 h 257442"/>
                <a:gd name="connsiteX2" fmla="*/ 0 w 1821936"/>
                <a:gd name="connsiteY2" fmla="*/ 257442 h 257442"/>
                <a:gd name="connsiteX3" fmla="*/ 0 w 1821936"/>
                <a:gd name="connsiteY3" fmla="*/ 0 h 257442"/>
                <a:gd name="connsiteX0" fmla="*/ 1821936 w 1821936"/>
                <a:gd name="connsiteY0" fmla="*/ 0 h 257442"/>
                <a:gd name="connsiteX1" fmla="*/ 1767215 w 1821936"/>
                <a:gd name="connsiteY1" fmla="*/ 257442 h 257442"/>
                <a:gd name="connsiteX2" fmla="*/ 0 w 1821936"/>
                <a:gd name="connsiteY2" fmla="*/ 257442 h 257442"/>
                <a:gd name="connsiteX3" fmla="*/ 0 w 1821936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1 w 1821937"/>
                <a:gd name="connsiteY3" fmla="*/ 0 h 257442"/>
                <a:gd name="connsiteX0" fmla="*/ 1982238 w 1982238"/>
                <a:gd name="connsiteY0" fmla="*/ 0 h 257442"/>
                <a:gd name="connsiteX1" fmla="*/ 1767216 w 1982238"/>
                <a:gd name="connsiteY1" fmla="*/ 257442 h 257442"/>
                <a:gd name="connsiteX2" fmla="*/ 0 w 1982238"/>
                <a:gd name="connsiteY2" fmla="*/ 257442 h 257442"/>
                <a:gd name="connsiteX3" fmla="*/ 1 w 1982238"/>
                <a:gd name="connsiteY3" fmla="*/ 0 h 257442"/>
                <a:gd name="connsiteX0" fmla="*/ 1982238 w 1982238"/>
                <a:gd name="connsiteY0" fmla="*/ 0 h 257442"/>
                <a:gd name="connsiteX1" fmla="*/ 1927516 w 1982238"/>
                <a:gd name="connsiteY1" fmla="*/ 257442 h 257442"/>
                <a:gd name="connsiteX2" fmla="*/ 0 w 1982238"/>
                <a:gd name="connsiteY2" fmla="*/ 257442 h 257442"/>
                <a:gd name="connsiteX3" fmla="*/ 1 w 1982238"/>
                <a:gd name="connsiteY3" fmla="*/ 0 h 257442"/>
                <a:gd name="connsiteX0" fmla="*/ 1982238 w 1982238"/>
                <a:gd name="connsiteY0" fmla="*/ 0 h 257442"/>
                <a:gd name="connsiteX1" fmla="*/ 1927516 w 1982238"/>
                <a:gd name="connsiteY1" fmla="*/ 257442 h 257442"/>
                <a:gd name="connsiteX2" fmla="*/ 0 w 1982238"/>
                <a:gd name="connsiteY2" fmla="*/ 257442 h 257442"/>
                <a:gd name="connsiteX3" fmla="*/ 1 w 1982238"/>
                <a:gd name="connsiteY3" fmla="*/ 0 h 257442"/>
                <a:gd name="connsiteX0" fmla="*/ 1982238 w 1982238"/>
                <a:gd name="connsiteY0" fmla="*/ 0 h 257442"/>
                <a:gd name="connsiteX1" fmla="*/ 1927516 w 1982238"/>
                <a:gd name="connsiteY1" fmla="*/ 257442 h 257442"/>
                <a:gd name="connsiteX2" fmla="*/ 0 w 1982238"/>
                <a:gd name="connsiteY2" fmla="*/ 257442 h 257442"/>
                <a:gd name="connsiteX3" fmla="*/ 0 w 1982238"/>
                <a:gd name="connsiteY3" fmla="*/ 0 h 257442"/>
                <a:gd name="connsiteX0" fmla="*/ 2142538 w 2142538"/>
                <a:gd name="connsiteY0" fmla="*/ 0 h 257442"/>
                <a:gd name="connsiteX1" fmla="*/ 1927516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142538 w 2142538"/>
                <a:gd name="connsiteY0" fmla="*/ 0 h 257442"/>
                <a:gd name="connsiteX1" fmla="*/ 2087817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142538 w 2142538"/>
                <a:gd name="connsiteY0" fmla="*/ 0 h 257442"/>
                <a:gd name="connsiteX1" fmla="*/ 2087817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142538 w 2142538"/>
                <a:gd name="connsiteY0" fmla="*/ 0 h 257442"/>
                <a:gd name="connsiteX1" fmla="*/ 2087817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310852 w 2310852"/>
                <a:gd name="connsiteY0" fmla="*/ 0 h 257442"/>
                <a:gd name="connsiteX1" fmla="*/ 2087817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631453 w 2631453"/>
                <a:gd name="connsiteY0" fmla="*/ 0 h 257442"/>
                <a:gd name="connsiteX1" fmla="*/ 2256131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910376 w 2910376"/>
                <a:gd name="connsiteY0" fmla="*/ 0 h 257442"/>
                <a:gd name="connsiteX1" fmla="*/ 2576732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4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3078692 w 3078692"/>
                <a:gd name="connsiteY0" fmla="*/ 0 h 257442"/>
                <a:gd name="connsiteX1" fmla="*/ 2855655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0 w 3078692"/>
                <a:gd name="connsiteY3" fmla="*/ 0 h 257442"/>
                <a:gd name="connsiteX0" fmla="*/ 2910376 w 3023970"/>
                <a:gd name="connsiteY0" fmla="*/ 0 h 257442"/>
                <a:gd name="connsiteX1" fmla="*/ 3023970 w 3023970"/>
                <a:gd name="connsiteY1" fmla="*/ 257442 h 257442"/>
                <a:gd name="connsiteX2" fmla="*/ 0 w 3023970"/>
                <a:gd name="connsiteY2" fmla="*/ 257442 h 257442"/>
                <a:gd name="connsiteX3" fmla="*/ 0 w 3023970"/>
                <a:gd name="connsiteY3" fmla="*/ 0 h 257442"/>
                <a:gd name="connsiteX0" fmla="*/ 2910376 w 2910376"/>
                <a:gd name="connsiteY0" fmla="*/ 0 h 257442"/>
                <a:gd name="connsiteX1" fmla="*/ 2855655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5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5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732443 w 2855655"/>
                <a:gd name="connsiteY0" fmla="*/ 0 h 257442"/>
                <a:gd name="connsiteX1" fmla="*/ 2855655 w 2855655"/>
                <a:gd name="connsiteY1" fmla="*/ 257442 h 257442"/>
                <a:gd name="connsiteX2" fmla="*/ 0 w 2855655"/>
                <a:gd name="connsiteY2" fmla="*/ 257442 h 257442"/>
                <a:gd name="connsiteX3" fmla="*/ 0 w 2855655"/>
                <a:gd name="connsiteY3" fmla="*/ 0 h 257442"/>
                <a:gd name="connsiteX0" fmla="*/ 2732443 w 2732443"/>
                <a:gd name="connsiteY0" fmla="*/ 0 h 257442"/>
                <a:gd name="connsiteX1" fmla="*/ 2677723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3 w 2732443"/>
                <a:gd name="connsiteY1" fmla="*/ 257442 h 257442"/>
                <a:gd name="connsiteX2" fmla="*/ 1 w 2732443"/>
                <a:gd name="connsiteY2" fmla="*/ 257442 h 257442"/>
                <a:gd name="connsiteX3" fmla="*/ 0 w 2732443"/>
                <a:gd name="connsiteY3" fmla="*/ 0 h 257442"/>
                <a:gd name="connsiteX0" fmla="*/ 2732442 w 2732442"/>
                <a:gd name="connsiteY0" fmla="*/ 0 h 257442"/>
                <a:gd name="connsiteX1" fmla="*/ 2677722 w 2732442"/>
                <a:gd name="connsiteY1" fmla="*/ 257442 h 257442"/>
                <a:gd name="connsiteX2" fmla="*/ 0 w 2732442"/>
                <a:gd name="connsiteY2" fmla="*/ 257442 h 257442"/>
                <a:gd name="connsiteX3" fmla="*/ 0 w 2732442"/>
                <a:gd name="connsiteY3" fmla="*/ 0 h 257442"/>
                <a:gd name="connsiteX0" fmla="*/ 2463137 w 2677722"/>
                <a:gd name="connsiteY0" fmla="*/ 0 h 257442"/>
                <a:gd name="connsiteX1" fmla="*/ 2677722 w 2677722"/>
                <a:gd name="connsiteY1" fmla="*/ 257442 h 257442"/>
                <a:gd name="connsiteX2" fmla="*/ 0 w 2677722"/>
                <a:gd name="connsiteY2" fmla="*/ 257442 h 257442"/>
                <a:gd name="connsiteX3" fmla="*/ 0 w 2677722"/>
                <a:gd name="connsiteY3" fmla="*/ 0 h 257442"/>
                <a:gd name="connsiteX0" fmla="*/ 2463137 w 2463137"/>
                <a:gd name="connsiteY0" fmla="*/ 0 h 257442"/>
                <a:gd name="connsiteX1" fmla="*/ 2408416 w 2463137"/>
                <a:gd name="connsiteY1" fmla="*/ 257442 h 257442"/>
                <a:gd name="connsiteX2" fmla="*/ 0 w 2463137"/>
                <a:gd name="connsiteY2" fmla="*/ 257442 h 257442"/>
                <a:gd name="connsiteX3" fmla="*/ 0 w 2463137"/>
                <a:gd name="connsiteY3" fmla="*/ 0 h 257442"/>
                <a:gd name="connsiteX0" fmla="*/ 2463137 w 2463137"/>
                <a:gd name="connsiteY0" fmla="*/ 0 h 257442"/>
                <a:gd name="connsiteX1" fmla="*/ 2408416 w 2463137"/>
                <a:gd name="connsiteY1" fmla="*/ 257442 h 257442"/>
                <a:gd name="connsiteX2" fmla="*/ 0 w 2463137"/>
                <a:gd name="connsiteY2" fmla="*/ 257442 h 257442"/>
                <a:gd name="connsiteX3" fmla="*/ 0 w 2463137"/>
                <a:gd name="connsiteY3" fmla="*/ 0 h 257442"/>
                <a:gd name="connsiteX0" fmla="*/ 2463137 w 2463137"/>
                <a:gd name="connsiteY0" fmla="*/ 0 h 257442"/>
                <a:gd name="connsiteX1" fmla="*/ 2408416 w 2463137"/>
                <a:gd name="connsiteY1" fmla="*/ 257442 h 257442"/>
                <a:gd name="connsiteX2" fmla="*/ 0 w 2463137"/>
                <a:gd name="connsiteY2" fmla="*/ 257442 h 257442"/>
                <a:gd name="connsiteX3" fmla="*/ 0 w 2463137"/>
                <a:gd name="connsiteY3" fmla="*/ 0 h 257442"/>
                <a:gd name="connsiteX0" fmla="*/ 2310852 w 2408416"/>
                <a:gd name="connsiteY0" fmla="*/ 0 h 257442"/>
                <a:gd name="connsiteX1" fmla="*/ 2408416 w 2408416"/>
                <a:gd name="connsiteY1" fmla="*/ 257442 h 257442"/>
                <a:gd name="connsiteX2" fmla="*/ 0 w 2408416"/>
                <a:gd name="connsiteY2" fmla="*/ 257442 h 257442"/>
                <a:gd name="connsiteX3" fmla="*/ 0 w 2408416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471153 w 2471153"/>
                <a:gd name="connsiteY0" fmla="*/ 0 h 257442"/>
                <a:gd name="connsiteX1" fmla="*/ 2256131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471153 w 2471153"/>
                <a:gd name="connsiteY0" fmla="*/ 0 h 257442"/>
                <a:gd name="connsiteX1" fmla="*/ 2416432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471153 w 2471153"/>
                <a:gd name="connsiteY0" fmla="*/ 0 h 257442"/>
                <a:gd name="connsiteX1" fmla="*/ 2416432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471153 w 2471153"/>
                <a:gd name="connsiteY0" fmla="*/ 0 h 257442"/>
                <a:gd name="connsiteX1" fmla="*/ 2416432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310852 w 2416432"/>
                <a:gd name="connsiteY0" fmla="*/ 0 h 257442"/>
                <a:gd name="connsiteX1" fmla="*/ 2416432 w 2416432"/>
                <a:gd name="connsiteY1" fmla="*/ 257442 h 257442"/>
                <a:gd name="connsiteX2" fmla="*/ 0 w 2416432"/>
                <a:gd name="connsiteY2" fmla="*/ 257442 h 257442"/>
                <a:gd name="connsiteX3" fmla="*/ 0 w 241643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479168 w 2479168"/>
                <a:gd name="connsiteY0" fmla="*/ 0 h 257442"/>
                <a:gd name="connsiteX1" fmla="*/ 2256131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732443 w 2732443"/>
                <a:gd name="connsiteY0" fmla="*/ 0 h 257442"/>
                <a:gd name="connsiteX1" fmla="*/ 2424447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910376 w 2910376"/>
                <a:gd name="connsiteY0" fmla="*/ 0 h 257442"/>
                <a:gd name="connsiteX1" fmla="*/ 2677722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4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3078692 w 3078692"/>
                <a:gd name="connsiteY0" fmla="*/ 0 h 257442"/>
                <a:gd name="connsiteX1" fmla="*/ 2855655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0 w 3078692"/>
                <a:gd name="connsiteY3" fmla="*/ 0 h 257442"/>
                <a:gd name="connsiteX0" fmla="*/ 3238992 w 3238992"/>
                <a:gd name="connsiteY0" fmla="*/ 0 h 257442"/>
                <a:gd name="connsiteX1" fmla="*/ 3023970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238992 w 3238992"/>
                <a:gd name="connsiteY0" fmla="*/ 0 h 257442"/>
                <a:gd name="connsiteX1" fmla="*/ 3184271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238992 w 3238992"/>
                <a:gd name="connsiteY0" fmla="*/ 0 h 257442"/>
                <a:gd name="connsiteX1" fmla="*/ 3184271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238992 w 3238992"/>
                <a:gd name="connsiteY0" fmla="*/ 0 h 257442"/>
                <a:gd name="connsiteX1" fmla="*/ 3184271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543562 w 3543562"/>
                <a:gd name="connsiteY0" fmla="*/ 0 h 257442"/>
                <a:gd name="connsiteX1" fmla="*/ 318427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543562 w 3543562"/>
                <a:gd name="connsiteY0" fmla="*/ 0 h 257442"/>
                <a:gd name="connsiteX1" fmla="*/ 348884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543562 w 3543562"/>
                <a:gd name="connsiteY0" fmla="*/ 0 h 257442"/>
                <a:gd name="connsiteX1" fmla="*/ 348884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543562 w 3543562"/>
                <a:gd name="connsiteY0" fmla="*/ 0 h 257442"/>
                <a:gd name="connsiteX1" fmla="*/ 348884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703863 w 3703863"/>
                <a:gd name="connsiteY0" fmla="*/ 0 h 257442"/>
                <a:gd name="connsiteX1" fmla="*/ 3488841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703863 w 3703863"/>
                <a:gd name="connsiteY0" fmla="*/ 0 h 257442"/>
                <a:gd name="connsiteX1" fmla="*/ 3649142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703863 w 3703863"/>
                <a:gd name="connsiteY0" fmla="*/ 0 h 257442"/>
                <a:gd name="connsiteX1" fmla="*/ 3649142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703863 w 3703863"/>
                <a:gd name="connsiteY0" fmla="*/ 0 h 257442"/>
                <a:gd name="connsiteX1" fmla="*/ 3649142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872177 w 3872177"/>
                <a:gd name="connsiteY0" fmla="*/ 0 h 257442"/>
                <a:gd name="connsiteX1" fmla="*/ 3649142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3872177 w 3872177"/>
                <a:gd name="connsiteY0" fmla="*/ 0 h 257442"/>
                <a:gd name="connsiteX1" fmla="*/ 3817456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3872177 w 3872177"/>
                <a:gd name="connsiteY0" fmla="*/ 0 h 257442"/>
                <a:gd name="connsiteX1" fmla="*/ 3817456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3872177 w 3872177"/>
                <a:gd name="connsiteY0" fmla="*/ 0 h 257442"/>
                <a:gd name="connsiteX1" fmla="*/ 3817456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4125452 w 4125452"/>
                <a:gd name="connsiteY0" fmla="*/ 0 h 257442"/>
                <a:gd name="connsiteX1" fmla="*/ 3817456 w 4125452"/>
                <a:gd name="connsiteY1" fmla="*/ 257442 h 257442"/>
                <a:gd name="connsiteX2" fmla="*/ 0 w 4125452"/>
                <a:gd name="connsiteY2" fmla="*/ 257442 h 257442"/>
                <a:gd name="connsiteX3" fmla="*/ 0 w 4125452"/>
                <a:gd name="connsiteY3" fmla="*/ 0 h 257442"/>
                <a:gd name="connsiteX0" fmla="*/ 4125452 w 4125452"/>
                <a:gd name="connsiteY0" fmla="*/ 0 h 257442"/>
                <a:gd name="connsiteX1" fmla="*/ 4070730 w 4125452"/>
                <a:gd name="connsiteY1" fmla="*/ 257442 h 257442"/>
                <a:gd name="connsiteX2" fmla="*/ 0 w 4125452"/>
                <a:gd name="connsiteY2" fmla="*/ 257442 h 257442"/>
                <a:gd name="connsiteX3" fmla="*/ 0 w 4125452"/>
                <a:gd name="connsiteY3" fmla="*/ 0 h 257442"/>
                <a:gd name="connsiteX0" fmla="*/ 4125453 w 4125453"/>
                <a:gd name="connsiteY0" fmla="*/ 0 h 257442"/>
                <a:gd name="connsiteX1" fmla="*/ 4070731 w 4125453"/>
                <a:gd name="connsiteY1" fmla="*/ 257442 h 257442"/>
                <a:gd name="connsiteX2" fmla="*/ 0 w 4125453"/>
                <a:gd name="connsiteY2" fmla="*/ 257442 h 257442"/>
                <a:gd name="connsiteX3" fmla="*/ 1 w 4125453"/>
                <a:gd name="connsiteY3" fmla="*/ 0 h 257442"/>
                <a:gd name="connsiteX0" fmla="*/ 4125453 w 4125453"/>
                <a:gd name="connsiteY0" fmla="*/ 0 h 257442"/>
                <a:gd name="connsiteX1" fmla="*/ 4070731 w 4125453"/>
                <a:gd name="connsiteY1" fmla="*/ 257442 h 257442"/>
                <a:gd name="connsiteX2" fmla="*/ 0 w 4125453"/>
                <a:gd name="connsiteY2" fmla="*/ 257442 h 257442"/>
                <a:gd name="connsiteX3" fmla="*/ 1 w 4125453"/>
                <a:gd name="connsiteY3" fmla="*/ 0 h 257442"/>
                <a:gd name="connsiteX0" fmla="*/ 4285753 w 4285753"/>
                <a:gd name="connsiteY0" fmla="*/ 0 h 257442"/>
                <a:gd name="connsiteX1" fmla="*/ 4070731 w 4285753"/>
                <a:gd name="connsiteY1" fmla="*/ 257442 h 257442"/>
                <a:gd name="connsiteX2" fmla="*/ 0 w 4285753"/>
                <a:gd name="connsiteY2" fmla="*/ 257442 h 257442"/>
                <a:gd name="connsiteX3" fmla="*/ 1 w 4285753"/>
                <a:gd name="connsiteY3" fmla="*/ 0 h 257442"/>
                <a:gd name="connsiteX0" fmla="*/ 4285753 w 4285753"/>
                <a:gd name="connsiteY0" fmla="*/ 0 h 257442"/>
                <a:gd name="connsiteX1" fmla="*/ 4231032 w 4285753"/>
                <a:gd name="connsiteY1" fmla="*/ 257442 h 257442"/>
                <a:gd name="connsiteX2" fmla="*/ 0 w 4285753"/>
                <a:gd name="connsiteY2" fmla="*/ 257442 h 257442"/>
                <a:gd name="connsiteX3" fmla="*/ 1 w 4285753"/>
                <a:gd name="connsiteY3" fmla="*/ 0 h 257442"/>
                <a:gd name="connsiteX0" fmla="*/ 4285752 w 4285752"/>
                <a:gd name="connsiteY0" fmla="*/ 0 h 257442"/>
                <a:gd name="connsiteX1" fmla="*/ 4231031 w 4285752"/>
                <a:gd name="connsiteY1" fmla="*/ 257442 h 257442"/>
                <a:gd name="connsiteX2" fmla="*/ 0 w 4285752"/>
                <a:gd name="connsiteY2" fmla="*/ 257442 h 257442"/>
                <a:gd name="connsiteX3" fmla="*/ 0 w 4285752"/>
                <a:gd name="connsiteY3" fmla="*/ 0 h 257442"/>
                <a:gd name="connsiteX0" fmla="*/ 4285753 w 4285753"/>
                <a:gd name="connsiteY0" fmla="*/ 0 h 257442"/>
                <a:gd name="connsiteX1" fmla="*/ 4231032 w 4285753"/>
                <a:gd name="connsiteY1" fmla="*/ 257442 h 257442"/>
                <a:gd name="connsiteX2" fmla="*/ 1 w 4285753"/>
                <a:gd name="connsiteY2" fmla="*/ 257442 h 257442"/>
                <a:gd name="connsiteX3" fmla="*/ 0 w 4285753"/>
                <a:gd name="connsiteY3" fmla="*/ 0 h 257442"/>
                <a:gd name="connsiteX0" fmla="*/ 4446053 w 4446053"/>
                <a:gd name="connsiteY0" fmla="*/ 0 h 257442"/>
                <a:gd name="connsiteX1" fmla="*/ 4231032 w 4446053"/>
                <a:gd name="connsiteY1" fmla="*/ 257442 h 257442"/>
                <a:gd name="connsiteX2" fmla="*/ 1 w 4446053"/>
                <a:gd name="connsiteY2" fmla="*/ 257442 h 257442"/>
                <a:gd name="connsiteX3" fmla="*/ 0 w 4446053"/>
                <a:gd name="connsiteY3" fmla="*/ 0 h 257442"/>
                <a:gd name="connsiteX0" fmla="*/ 4446053 w 4446053"/>
                <a:gd name="connsiteY0" fmla="*/ 0 h 257442"/>
                <a:gd name="connsiteX1" fmla="*/ 4391332 w 4446053"/>
                <a:gd name="connsiteY1" fmla="*/ 257442 h 257442"/>
                <a:gd name="connsiteX2" fmla="*/ 1 w 4446053"/>
                <a:gd name="connsiteY2" fmla="*/ 257442 h 257442"/>
                <a:gd name="connsiteX3" fmla="*/ 0 w 4446053"/>
                <a:gd name="connsiteY3" fmla="*/ 0 h 257442"/>
                <a:gd name="connsiteX0" fmla="*/ 4446053 w 4446053"/>
                <a:gd name="connsiteY0" fmla="*/ 0 h 257442"/>
                <a:gd name="connsiteX1" fmla="*/ 4391332 w 4446053"/>
                <a:gd name="connsiteY1" fmla="*/ 257442 h 257442"/>
                <a:gd name="connsiteX2" fmla="*/ 1 w 4446053"/>
                <a:gd name="connsiteY2" fmla="*/ 257442 h 257442"/>
                <a:gd name="connsiteX3" fmla="*/ 0 w 4446053"/>
                <a:gd name="connsiteY3" fmla="*/ 0 h 257442"/>
                <a:gd name="connsiteX0" fmla="*/ 4446052 w 4446052"/>
                <a:gd name="connsiteY0" fmla="*/ 0 h 257442"/>
                <a:gd name="connsiteX1" fmla="*/ 4391331 w 4446052"/>
                <a:gd name="connsiteY1" fmla="*/ 257442 h 257442"/>
                <a:gd name="connsiteX2" fmla="*/ 0 w 4446052"/>
                <a:gd name="connsiteY2" fmla="*/ 257442 h 257442"/>
                <a:gd name="connsiteX3" fmla="*/ 0 w 4446052"/>
                <a:gd name="connsiteY3" fmla="*/ 0 h 257442"/>
                <a:gd name="connsiteX0" fmla="*/ 782549 w 4391331"/>
                <a:gd name="connsiteY0" fmla="*/ 0 h 257442"/>
                <a:gd name="connsiteX1" fmla="*/ 4391331 w 4391331"/>
                <a:gd name="connsiteY1" fmla="*/ 257442 h 257442"/>
                <a:gd name="connsiteX2" fmla="*/ 0 w 4391331"/>
                <a:gd name="connsiteY2" fmla="*/ 257442 h 257442"/>
                <a:gd name="connsiteX3" fmla="*/ 0 w 4391331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968434 w 968434"/>
                <a:gd name="connsiteY0" fmla="*/ 0 h 257442"/>
                <a:gd name="connsiteX1" fmla="*/ 727829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2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1 w 968435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1 w 968435"/>
                <a:gd name="connsiteY3" fmla="*/ 0 h 257442"/>
                <a:gd name="connsiteX0" fmla="*/ 1136750 w 1136750"/>
                <a:gd name="connsiteY0" fmla="*/ 0 h 257442"/>
                <a:gd name="connsiteX1" fmla="*/ 913713 w 1136750"/>
                <a:gd name="connsiteY1" fmla="*/ 257442 h 257442"/>
                <a:gd name="connsiteX2" fmla="*/ 0 w 1136750"/>
                <a:gd name="connsiteY2" fmla="*/ 257442 h 257442"/>
                <a:gd name="connsiteX3" fmla="*/ 1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1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1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0 w 1136750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86955 w 1886955"/>
                <a:gd name="connsiteY0" fmla="*/ 0 h 257442"/>
                <a:gd name="connsiteX1" fmla="*/ 1578959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2055270 w 2055270"/>
                <a:gd name="connsiteY0" fmla="*/ 0 h 257442"/>
                <a:gd name="connsiteX1" fmla="*/ 1832234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233204 w 2233204"/>
                <a:gd name="connsiteY0" fmla="*/ 0 h 257442"/>
                <a:gd name="connsiteX1" fmla="*/ 2000549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0 w 2233204"/>
                <a:gd name="connsiteY3" fmla="*/ 0 h 257442"/>
                <a:gd name="connsiteX0" fmla="*/ 2520141 w 2520141"/>
                <a:gd name="connsiteY0" fmla="*/ 0 h 257442"/>
                <a:gd name="connsiteX1" fmla="*/ 2178482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781430 w 2781430"/>
                <a:gd name="connsiteY0" fmla="*/ 0 h 257442"/>
                <a:gd name="connsiteX1" fmla="*/ 2465420 w 2781430"/>
                <a:gd name="connsiteY1" fmla="*/ 257442 h 257442"/>
                <a:gd name="connsiteX2" fmla="*/ 0 w 2781430"/>
                <a:gd name="connsiteY2" fmla="*/ 257442 h 257442"/>
                <a:gd name="connsiteX3" fmla="*/ 0 w 2781430"/>
                <a:gd name="connsiteY3" fmla="*/ 0 h 257442"/>
                <a:gd name="connsiteX0" fmla="*/ 2781430 w 2781430"/>
                <a:gd name="connsiteY0" fmla="*/ 0 h 257442"/>
                <a:gd name="connsiteX1" fmla="*/ 2726708 w 2781430"/>
                <a:gd name="connsiteY1" fmla="*/ 257442 h 257442"/>
                <a:gd name="connsiteX2" fmla="*/ 0 w 2781430"/>
                <a:gd name="connsiteY2" fmla="*/ 257442 h 257442"/>
                <a:gd name="connsiteX3" fmla="*/ 0 w 2781430"/>
                <a:gd name="connsiteY3" fmla="*/ 0 h 257442"/>
                <a:gd name="connsiteX0" fmla="*/ 2781431 w 2781431"/>
                <a:gd name="connsiteY0" fmla="*/ 0 h 257442"/>
                <a:gd name="connsiteX1" fmla="*/ 2726709 w 2781431"/>
                <a:gd name="connsiteY1" fmla="*/ 257442 h 257442"/>
                <a:gd name="connsiteX2" fmla="*/ 0 w 2781431"/>
                <a:gd name="connsiteY2" fmla="*/ 257442 h 257442"/>
                <a:gd name="connsiteX3" fmla="*/ 1 w 2781431"/>
                <a:gd name="connsiteY3" fmla="*/ 0 h 257442"/>
                <a:gd name="connsiteX0" fmla="*/ 2781431 w 2781431"/>
                <a:gd name="connsiteY0" fmla="*/ 0 h 257442"/>
                <a:gd name="connsiteX1" fmla="*/ 2726709 w 2781431"/>
                <a:gd name="connsiteY1" fmla="*/ 257442 h 257442"/>
                <a:gd name="connsiteX2" fmla="*/ 0 w 2781431"/>
                <a:gd name="connsiteY2" fmla="*/ 257442 h 257442"/>
                <a:gd name="connsiteX3" fmla="*/ 1 w 278143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1431" h="257442">
                  <a:moveTo>
                    <a:pt x="2781431" y="0"/>
                  </a:moveTo>
                  <a:lnTo>
                    <a:pt x="2726709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RunningAgenda1LevelTextLeft392144">
              <a:extLst>
                <a:ext uri="{FF2B5EF4-FFF2-40B4-BE49-F238E27FC236}">
                  <a16:creationId xmlns:a16="http://schemas.microsoft.com/office/drawing/2014/main" id="{2B612BB3-8FBE-9FA1-47E2-EB8D5BB216DC}"/>
                </a:ext>
              </a:extLst>
            </p:cNvPr>
            <p:cNvSpPr txBox="1"/>
            <p:nvPr/>
          </p:nvSpPr>
          <p:spPr bwMode="gray">
            <a:xfrm>
              <a:off x="0" y="876300"/>
              <a:ext cx="272670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marketing-mix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4B807C93-3B63-6676-0208-39D6DD2F4742}"/>
              </a:ext>
            </a:extLst>
          </p:cNvPr>
          <p:cNvSpPr/>
          <p:nvPr/>
        </p:nvSpPr>
        <p:spPr bwMode="gray">
          <a:xfrm>
            <a:off x="804015" y="1823332"/>
            <a:ext cx="2997228" cy="4456794"/>
          </a:xfrm>
          <a:prstGeom prst="rect">
            <a:avLst/>
          </a:prstGeom>
          <a:noFill/>
          <a:ln w="19050" cap="flat" cmpd="sng" algn="ctr">
            <a:solidFill>
              <a:srgbClr val="CC0000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6" name="btfpNotesBox222394">
            <a:extLst>
              <a:ext uri="{FF2B5EF4-FFF2-40B4-BE49-F238E27FC236}">
                <a16:creationId xmlns:a16="http://schemas.microsoft.com/office/drawing/2014/main" id="{F9929F2C-F526-C821-0D4C-AD3BA7BFD51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446736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LTM is May’24-Apr’25; LLTM is May’23-Apr’24 | Source: </a:t>
            </a:r>
            <a:r>
              <a:rPr lang="en-US" sz="800" err="1">
                <a:solidFill>
                  <a:srgbClr val="000000"/>
                </a:solidFill>
              </a:rPr>
              <a:t>Vivvix</a:t>
            </a:r>
            <a:r>
              <a:rPr lang="en-US" sz="800">
                <a:solidFill>
                  <a:srgbClr val="000000"/>
                </a:solidFill>
              </a:rPr>
              <a:t> (Kantar), </a:t>
            </a:r>
            <a:r>
              <a:rPr lang="en-US" sz="800" err="1">
                <a:solidFill>
                  <a:srgbClr val="000000"/>
                </a:solidFill>
              </a:rPr>
              <a:t>Pathmatics</a:t>
            </a:r>
            <a:r>
              <a:rPr lang="en-US" sz="800">
                <a:solidFill>
                  <a:srgbClr val="000000"/>
                </a:solidFill>
              </a:rPr>
              <a:t>, SEMrush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AA2E91C8-F249-47A7-871C-BDC1A3B12C4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5" y="944428"/>
            <a:ext cx="258172" cy="257443"/>
          </a:xfrm>
          <a:prstGeom prst="rect">
            <a:avLst/>
          </a:prstGeom>
        </p:spPr>
      </p:pic>
      <p:grpSp>
        <p:nvGrpSpPr>
          <p:cNvPr id="51" name="btfpStatusSticker154879">
            <a:extLst>
              <a:ext uri="{FF2B5EF4-FFF2-40B4-BE49-F238E27FC236}">
                <a16:creationId xmlns:a16="http://schemas.microsoft.com/office/drawing/2014/main" id="{C7110E86-14CD-A2AB-DB0D-E394B07BD61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555320" y="955344"/>
            <a:ext cx="2420344" cy="235611"/>
            <a:chOff x="-2939076" y="876300"/>
            <a:chExt cx="2420344" cy="235611"/>
          </a:xfrm>
        </p:grpSpPr>
        <p:sp>
          <p:nvSpPr>
            <p:cNvPr id="63" name="btfpStatusStickerText154879">
              <a:extLst>
                <a:ext uri="{FF2B5EF4-FFF2-40B4-BE49-F238E27FC236}">
                  <a16:creationId xmlns:a16="http://schemas.microsoft.com/office/drawing/2014/main" id="{14398A7A-6486-5102-6976-63E6AEAB2505}"/>
                </a:ext>
              </a:extLst>
            </p:cNvPr>
            <p:cNvSpPr txBox="1"/>
            <p:nvPr/>
          </p:nvSpPr>
          <p:spPr bwMode="gray">
            <a:xfrm>
              <a:off x="-2939076" y="876300"/>
              <a:ext cx="24203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Sparkling water</a:t>
              </a:r>
            </a:p>
          </p:txBody>
        </p:sp>
        <p:cxnSp>
          <p:nvCxnSpPr>
            <p:cNvPr id="64" name="btfpStatusStickerLine154879">
              <a:extLst>
                <a:ext uri="{FF2B5EF4-FFF2-40B4-BE49-F238E27FC236}">
                  <a16:creationId xmlns:a16="http://schemas.microsoft.com/office/drawing/2014/main" id="{71C86EE4-08DE-26D6-FEE8-B84DA1D6EAD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9390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D0AC51D7-C179-91CD-B39C-ADCCB3517C17}"/>
              </a:ext>
            </a:extLst>
          </p:cNvPr>
          <p:cNvSpPr/>
          <p:nvPr/>
        </p:nvSpPr>
        <p:spPr bwMode="gray">
          <a:xfrm>
            <a:off x="1262976" y="5877301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C00000"/>
                </a:solidFill>
              </a:rPr>
              <a:t>Target 1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6404D1-7205-D35B-50C1-8F1ADC16834D}"/>
              </a:ext>
            </a:extLst>
          </p:cNvPr>
          <p:cNvSpPr/>
          <p:nvPr/>
        </p:nvSpPr>
        <p:spPr bwMode="gray">
          <a:xfrm>
            <a:off x="2807531" y="5877300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C00000"/>
                </a:solidFill>
              </a:rPr>
              <a:t>Target 2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67D85E5-2FFE-A158-DF26-AD209DCCCDE8}"/>
              </a:ext>
            </a:extLst>
          </p:cNvPr>
          <p:cNvSpPr/>
          <p:nvPr/>
        </p:nvSpPr>
        <p:spPr bwMode="gray">
          <a:xfrm>
            <a:off x="4414959" y="5884121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1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DFB3D69-82B3-933F-ACEA-0CEBC4153B07}"/>
              </a:ext>
            </a:extLst>
          </p:cNvPr>
          <p:cNvSpPr/>
          <p:nvPr/>
        </p:nvSpPr>
        <p:spPr bwMode="gray">
          <a:xfrm>
            <a:off x="5991043" y="5877299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2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E789E08-24D6-2C94-C44F-F1FE4C1EAEB8}"/>
              </a:ext>
            </a:extLst>
          </p:cNvPr>
          <p:cNvSpPr/>
          <p:nvPr/>
        </p:nvSpPr>
        <p:spPr bwMode="gray">
          <a:xfrm>
            <a:off x="7504063" y="5877298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3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E1F2C4C-EFC7-EEEC-B747-6403E960DEFA}"/>
              </a:ext>
            </a:extLst>
          </p:cNvPr>
          <p:cNvSpPr/>
          <p:nvPr/>
        </p:nvSpPr>
        <p:spPr bwMode="gray">
          <a:xfrm>
            <a:off x="9158971" y="5884121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4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6A5DBA7-369A-A791-33D9-8FBB3EE94BAA}"/>
              </a:ext>
            </a:extLst>
          </p:cNvPr>
          <p:cNvSpPr/>
          <p:nvPr/>
        </p:nvSpPr>
        <p:spPr bwMode="gray">
          <a:xfrm>
            <a:off x="10662124" y="5877297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5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5" name="Rectangle 6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jPEhjUiUXcADKRp21sDU+MnKpFfqvg431dAjfmT6tDp1wm0JEHr9+GCsgAFdCxfNSFmBmE9Pzs7RluZslftOm4g+E15z+FZzywW+cg41+xpxr5O5CwXaM5siEMz8pBgqftkvHfqd08TIFiONxr9BqkjbtA+EzPaw07T/W0FdpGtg18l/MDbJN4bFknhdXhzB8tSNUgD9r4dyEalI3zbWoOp9VPyCmGYxasxMCND7NJ2MxysFYOmRS+WtUxpXQRFut7TM6EDOWl8XkYQu8sJ5FOpcJaHzBjUX8QLVeKURDsce/OOxaaWTd7OjKciKffgjwIzzec4rZ97YzMsi0lL3tWPYOJnSnZiyiFHcD0h/+AouDAvnXd7qr7Ztx5p/fYcbfP+RvRqsdQub+u+kHIbzip0ub6qbu5+QZKFIm2+tT56k1iz1JefbFdenA604IZ9mOBSDQzoAhjAYqZMaEt/tIYoF/gIx9o7eVBUYI7qhDLrw7JPklZNryB3yacGiDNA8Lta6uBzGVfW8Q6NlLSL9fljTD0f8HYRWpeZ5sVx++aRQhH8zYZxcgjiNjRsqYQqdld/6Ke/Ioy3BFdlMYOWVOG2XZ8c0/0CcURrFFaTWbFN/r6kxWotCDFnXIHiEKMd5NJHvUm6JtUKEMySPkbM+8Z7/gHi25mdwRhoadmDCdX4LkIO8mtVeY5TGpG001EjfEmLSg7B7T26FYyXIXfmEwTwhqCLjDC1rOYdOQm2xgAjIoUqv0LHq8qXhI5rEVIZPfTH9lw64Pj1D4veqCoHP+1wePnbXfpkYgsEGZO4V2eZHeCNw4ORM1GgYxoI1Mk+SdbnuDb8+TmO4F6+hR9bk4RvuPfxv/C4So8pBvVLsCKJ/5BAI88jEB1Ty4dGmFE+VsAjqTAbbX4KRzddCrCY9RSqSMaWd+D6SfBludNQWj+6+VfEhoISCbL/IX+vqHS8eR8Arfsr4q9Ql59NIHUb1zbqC1tO/+P5T8RXJ3QGbdhG/ZNUTdIG6NhfZmFK2SgMCb4NiMnP+KFQg7l9wa8NxKFyGQJkKC0J6UZVKRmNAxgAU2eFtorhxJaP/SWLad18rCU/98rWcsfvOUbDhHQs9X4aOwnC1oPOYcYTMgK4t2www5upHgvyXN8ns6qd20wa0WDscI3Eyw+X3Q9Ewk8FGUB9E78ETLOYsAA4gRxz81ONG2Oh5+Cl/TPqBm3NQwuQFOfygkQU/HMWuxYNJGgvqDJv/BSYJAQDsJ4or9yLSoXFfU70mNgUQhr0WMNDz6AwItkZJrhmj/v4ooKKK4odVN0RWmCBLP1sDkkozrgxJSn2ABs1FefNB1wsLnu8ihISKOxCuEfIysR2+20skEeYksr0DIqYjydideR3RMAav78v2hZSOCVZ4l8gmKzg2Y5MbDzBwu0gP5rzBEWIdsEm45FbxOsUBFsjlVcERM6RrNmcXOuptTwf4hYlyyjrhiPuh70K2xqWGLuLinNynqy7WA76HvaAQp5qPgZfgMs9A/sLKF7F87jVt9ToDdEgltdCqGa6VkDm+49I6L55hljtWlmsNG0dRHn61iG8RqHBADuruRIjwMtaLgTT4gu8XeB0Bm9aOAI5TX+g8jJ7ROZ6ewYuCEwOMiTTN/9KmrcpXn+qy7dRuFHaOyBkdS3G7o2fw8WZiN1eXACQBwRyMFP6LGFMjfFH56Dvj7NhhxVTOOvaJpOiJFUG0P5qpJE6s/dYpPPhQspIcxewkLzBRMBXdEeRb9HzMkY+Wodchpc0dy4BvRHwhkeQd+3dXJ5sFwSDxLWPgNSSst0xTpdabcRg4rvG+UcCokacyJ6aGmTFMW8SjsBLLw8aNF+tZOKXPGBvTLJ+mFm6wgFrQX/2SjjUCEpLhvNpc80mZYxAJm+AWKS3CLalFkxbkm4nSRlYaUe4b0kORTePOnYl51QRbm1EmpDlesrmCZWt1pEYpc8crLluwYKr9sUeJQ2nNX+KFndZNEJNU4sv2vd8sliacdqKE+n2H0lmB5U7QMcSsxJBHHU+jUriuMRdc63o7IzTF0XlQWsyDFqW+ky/J+GUHWSbrRHld0JrunmyxsF0Dj6EOAIiciWAtaPMWwwqaknITz2N1aduvOE7a/LfnTxW9bH/bTiulHSH3UFJsueHbkHgFcWVjgZpVxTM4f3u1CWsGURJnWRgVrBnBIMiFsk8TawM7KeO9FAEMI88HNl8PMxjkBkiCO2qgq/bTLu18WDlm8n8pPWWuagUNMUuvYhPCeRAW1UIQBtU38arMha3ECEztttwaY8aDYvYafjsXWO2JvjU/lTHBleL2JrYKztCWp9y8eo8Hz9rZqoVQJQAYuyQu/CS4lpVyQQt6LzF3T3IS48r5mZ28+OvDtzhDoVSI7LPNf2h0Wq3ep6uHkl/euWOduDtqAyxd7HhvZjEuEwSdV5NSxHZtq9pI8W8MtY50wzh2A+jKRKCVMKwVsvso8/MAr3bTbxzNsb+QnKbylqvoaFny0tI2MhM9gxIkaUeVxPcVSsBHaTMpMc7zX71XigCltaP6u4NA9W+YwScao9bMx9W0oKyOemkexUunHVT8pXKH97BfA/9oiN/dM9Kku56GbNoBohrbjqCcII02kmHxRgKLb0UJeA1Najl7OlxlS+B6g4Tzcsg31q/qmNmmNZC1EGv8zVt8tUJK5n0ewK/w0x5jF2akx0TUp4b19aeau8h10O9z91T4lCQiPLiTsSjdK1s+ryaxIDuUWNVLUTseQ1VHYYnazf/RpY2xgL6bOF9Rcid1K6lVwTvQ9LyHTvUCTfGsQDAp3EIlIGDJWNaBtdaRWtXsG5XFuqXfqze7Y+Lu08CpkD/g931JeCRCqjHvv9p0ZyUOoZtyOaVCy6t+bTZBRuN/qCRFlfYXmLw21YpAyFhggy1x/hQ8nEUtcr75lxRBXYbEufShF2RqDNNAk3GIKlLnva82he1odCvGTsWPkCorSnWl6yEMZysx00ucmSvSnGYXhGaKTx1OQsBuZ9iOcFWCo9uOM11Vjwhms/WrBYs09shPfTcmPTww8vvknuZIxnmo4+2xx0B4rXdRffOqLMXGwGngrf5QWGw6NAX8HEztU8O25Sz3Nux1DaYngHKk5zcrSaQfaD2gqg83/MttMfshHz2bnDZSbPzvmAH+V7W/qRULAgRLPpYQVfjRKeyvNCJMoXSkMbrfulCAktAvEB5xaVyXWhbsI55eYvg75vTPSz70pDZgxplcJpyPBxVQk/S8bOhxku/XEefhT4TfvMylkjJcXyNSlaq20ILnvhRPZM3x6splVM+Yxae9YlWVr9nKiZHuSGm9/5Ntm26TKlJOd0dIAAFfl5CF5mcU6fy1cx36ygfV2qVlUxWMWBbKoZ0lSs0COVFNZ8PoXczIm1Dw56TpjLGxN43z+irGCCvieDVugKORfulKvPt/P/g183isEqkTLwxuEz1qmjLOwHcw75xmvenmenUipZFgVe5ppi58QAqGKK53gH6Wr5ErqzWEHe7LDAtd+01sgUbfNnorWh9H0JKAJX0MM7uZq8sF/5etYjTKaVUmmLshySE2guMQjojrC3AFodHRebWefuj6Es2du5gzPiNtfgG//BiDci+DXARyJxt0IC5xfp29xS9g85KynNZ0ZBAE50A7vWi9HdepC17WRDUUitQboPhXt34UqTK6E3/OgVZ7yPjijB2A4etad2r2uZ8H/7ztb3wlWHtjiqChPl5gKxKAtIWRJ/cnID2m01kNfUpJaC85QfX4TlpnXw25OdkBYiO/UCuG4k8QUgbUTT2/0dJXNP9EjHyfyYawpBIAKa4wTYT202wjCOiiDo15vUtdjpYSZCWDu0Wkd9dEFYmnicrQnvqjTfD2th3jeuCBtqRffc6gMe6+9TRDY/4byci7LqYUzSLE1c5cBrHEfrA8KuZ3GQ7j6QSUoCLtdIxS4QPQN85Tj5vFnHmD+X4lRZu8T2HKw3rofl4OBEDL+q+OBj06beaTeAXdmyVi0sCbVpHnZf13ZCA7J1pMyoTCqwN86kVQIYR2fPwfHkW42SKCV5XOsXThcuyvW7GTgWwSxYN0CPEwJMZXi2riMo0aJwmMxkgVHFKwXSXOuyMz7b4Xenb6B6Fx8h/+fUkuslqT7WXCqsmlwPas4yji+aMOs3+grPNfo0ajHPqosRVvP0NswmTq2TGVVL1UJd4ztaB1KD2mCzknZK2QyXuqds5ur7Sk1ycavUjOzBPVIstbfz+nUeRvC32Kn/kM7ZZdFUBYGMEH+uxBk1CjTI7PbRlr9TM6x1+t83SEmgLIo7FqUiVxtYi2mb1yvPGIqKXoxjmhrK2ixwQeIQEKafoOkaqyHK6g8VA/+vnRFS72h4Dup7c+bGy7H36jhugIgUbqIE2K02CwTknLgafc/QcmqDOwAMiWrqZa+FKpD2GTomdCc4bt41ZZep7Q5S46Fr08eLPdzObS18TBUvneQOjInjMB/j2Hxtbi2OAvCDDHTeVzWhsAhbOtJO3Cjl+iGZgT8fXmt58f9bLz2JMxLxz1xZQmKZR0MCFd5QSSOOm5ltkOBkOYjtCRhjozBLLCg0JSN/xMsPKZT8IrplKtqWdR20hI4ermC+uAreV520Q1/tFoXovJiQiMpLU+BfQdPCf4fckHb5eh9cnc3JAc8xJQ+sA4pQeZ2fIwZrQmXe9W650Ew3USEJSLxsYhTq0fDvcUnLos1VctY0cmgYNaYY3X39ngKEKZxw8vfM3AiMxOmtS7DXRzg0Dclc/5SUQaIAuIv81s9r6gNh4jWvEeZbdyiHh/kv/cCcjt0nlC0L/+a6Y0ImZDM6RaCseP9gEgJ52/bf1mf7PmssoWbHeT/T6CfbNW5SNqKgNqxr62NgkFIz3irMlZBaPxCkiV7QKMo41vFPfKqIbslY0VjYwTDYzVjY1a1LXDVmlbJe4GHH7TJPKrRsvg9LBMBCqFg87PNUMjEjAui1XIHSEJXwZtxCKXfR5JJGuBMnVB5eDwJi7Xo3gwyumo7RUIYYlXKR8E2sMJ10DQ4AayO2xJMyMLdHiCQvqI9EJTFGZWcnWs50TvWUGuUUaXwJFUujs+D2GKdMPu8ZMe7oGKH1jelPudtCXedvQ5fxkHY1wr5ncF20zFKyw1wB8S1vrvjQDeTd+7WOsfelMKntuXlx1aeF8F4NEO4J2VX04CUbRJYpvpIdkXA60L79X9KnT6lT5AR3lBKmexwe3/9w2pAuT2l25jQ87U9LStX0/UR/QkAyTJ4N4qByvZtI4FnEYclvHULo8t8VMZ/bU+aPjyzUKFiFO0Chz7cIg1EBBOk6Xfp75whe+iw8VqFTAl7dy1jnYaVr1Wp+1ulMORuZ0SFLN5jwZEbS4t+wGsj0qmvTgeqqnCpPIDhEmRzjAxcFZp/LUoCRZ2wpK+VECuFbvX1/UB//5oYf/xCDFNmSCySSLn6fWFd6EjhebPrhjn7DzHBps/qY7LUFyQw/4x4OiUny+83VIsXoTYypgQKq+JoBE8du8KqYNoYcnbD8UQsjNrB00xqx3QmwM7LpKzwXfR1Ict1D6NxI0wZ/tHqC9IrybRrS2V4hPTdWwUJ4HyKYOryZ9YtR9TeEzYPCs229jfl2vjYcOUBxTb++grKlNC3Lunb5tk3zZltDsz39bay2NdxGHOkrODHUrgTy/Zmrfvkz1naees6jkLjPTob2hcL1UTo5cKpm+a444Ys4zSDOJUaIJb34HFGwrY3g2Pacd9vsKH22AeuxggfgRLZ+47Mxg+nkwHxmxKfsGEYyD9Mu5WF0ePe7zC/LgBkLM9nl+wpz5RX/YMDIV0Dcuc99i9LzzEvTb+8RthLtz+11tPjYp96cH2YBXog4BriJm2rNp/mtC58AuguX8EQPDdUVFGJ2nr/EYhoz97KrgDhuPYR9/IDLltY1Xvv2n42ZZ6QNeBacfeTyPP1LmWzRLe0bP2iUCpXCcSfWTXJYID8Dacu/XSrnfopBU4WKg7Oh22GQzg2hO0cnppPU+OKHniYi3uvUBOrl2oeXflO575gULMuiatcsBF/PriPvNWeiizD4Q4BwSflNwtDkdoI1YidtDe25iy2V9WbIaElStIhvZGd27l5ncd3d2IA3nAOecHBCKJvsNjCpbfV5BJfFU9ueTBhxGw/KWD2yL0Pjo/lcFztKWh06UVVgc02AY8qYmCzgEq5Si7QnsC/kQlNvl+uvIYgmMS3icFBLpWbLR0cP3WktW3Gb/jebRuPSqx4WeuEF97eA3qSfGjl12afKQkgR5+KhDENTLdTm+YuNp7s2+GIjSdfXYRl5FtTRNUBQ5xc7NllUQ9XAr5Nop3/wsDxe2nxWj0wm596BFM877o0QxoySWGD1Jr+FtDaxwN31KT6w93MUeM0VVg0sU5yXIsXePT+OpRhRp+43WBjfJce8ztbkcmZIeAf2g47Vxdg9jrtoHSN2b9kEnxDzLJMWYFy0Q81vHkviREg9JjABrIWLAMJtifcWLITfg6BoSoMr8B3dY2NEhsHKiMGBCLi5NbSZHp8E1C7TZ0fB1ySJIuhc4a3IlxMOQNfCD+au3OStK7Mn5DvEzti+1Wsvm8MLMavRlpr4fraOh9NPYBlrepptXhOkRP5THTlqQZTDdI7mvLRbDT5yPp7W4n3ia7UalSsuWX19Cbo9tvRKiBBLD7WV7/ObBp5xgFf0mdgcMq3g/soR7LVnuzRrk/dN0OuQBvjwFmsQyRN/Nu8VmjHTan8OeK1mpu4YSfOunKPOjjbSB6GtKEXB3CYrk0NYTAwTaxmrFWiriSqRBKwmLt7cX6TSYCfCFVSrUBnz6arXYJitWMtT6ClSu8E2xbhWt3QRvxbrYmuV+UW+ToakUZKzJW0J8qk7BRpmmtimyGodCEMR5LcGqnceAjVm0Q48Fs3IVE1e1jjSofD6N6u/WkzVmj7JIPc+g0C7uOzYExr64ErKmeWX9QBdYrS2el7A0nhamQUYGDkt074dyjQs1q9ifmg37jObijPVtyRlQ2/feAaibhWiW6kVE8DbYZVHtS7oVAUb1Pp2FFgMMQEsUdB+xBmTAf5/DzQZ/3PSp3HPHSVMaKr77aKX8ZqKtFHeiTbs+3SIlqOiav1XL2Q5acm2gg27qLrdtMVxSEkDZIADbXJeubUSg310/d1XJ/+ep5zROEg4ob4eskMEcHUpxg8mQbbk5LRI0u3aJRkkufr7sShpMHe/OShnBSeL4mIaxqUUNLkEK8ZesPIaUnTEnaV+pwA5tYhQxSfcsvznaR/8v/vM6cJYw/6ql0+Rkn2VOrn22XVkm3GLh7jSXhkAlo+SBqg9K0Khh3oC67t2UP7hb1tbyqrr8uxSM76/EpTWgso9kY0h7XSxlf+tQuObFfdDb4AmEiJToVxZSqrMztFyx6CIFBVey2K+WvQMG0SByMQkBYK/LMORc78RaCbVpmrIjQD4MtLbIm3vutlmZhsukZpVXYxacSgFLRcjaeizWqKX9qsNLtlVi6ER2XgRLUpzMJaaZLMlDZV+Ak60Sd5jy7prMe+U3FTcck7ECIst5sO1UJz5e9siHaq912GJNp1HFBmnS/MEBba1279lMjG7jKV7cFG4STDQoBGU6rLwH75q82OnXYBwcQPFwfUAgzfAoiPJJRBVTeZ9dH3USjQm/sRotdQ55liM1u45VxvseJJZsv5BDlQ3ZZHssUJgb1M7t3O4tkfOa1YdLxATutYjNu3N7x/N3+aXxbnriWkuKfprWQhDBjf7dn6KIiek1xnqPtYm9fe2gT9arteKF8MAeIHm3aQcFb8N2sdjXieKO8Z0fRjO6LAZ91FFRkjtN4nKMSKMHLOx4dya5hJX/KTNOyvzuPS8FrnTKp+zDdSYz80CZhP3esjY4vJTuXqeDEOklQh3nZj4OfpKGUyN4vopBd1gjm8kW35F7GM4SjHEe0OYVPJ0iAiQV1XeOqL6YLvjHmt2G1jSMG372G4eG80Xi8i0RKozMnKUkT9dBKTPubJlAGME1bjrXhAEviVDDiNWbAng5u+20JCwvpNjzCEpFP2j3Bd5klYLrU/3V4kkxurjewYtrmITv1WY0u4uJNLRmO6h2RYGlM1Jb7jUL3yWOYmlENvzZzVZFab9tUgf3glY/2LoqdC6XvzFJORnZc/zbRQasCdgsbPAVRNdDlcQncY4JfnanYXSJ4ETjcrsfbs7jkJczXGMyswWYBVNqzQL18J7us9ISLr58+jrR/pZ4vpXn8ZrY7vocOCWD83Wghjc8tNav5vKGf5u3m8y0rKEpgbB0AZs4vARihUAEelqkEoweefE0AL2EXEsJU9lfJAeBmqLuH77io7TflY4QKDED+1ic/e/s32kJBA5/44OP/7yqCa3mwTUTZ4KRq0T4cYddT8G21nX/5zOugSavxkUWkOXosY7ET66Vj0lNvZYivO3YWzvB7+/TYIvEM0TRwQrTGg7sEIn/+ECjMH+iY/SIv6VnnDsjJ/+HQZmAwSrk/ZEGbrrQytK8Mu3jp1/Sot/sikvTgTnzGXZxIrZAw1hB0a63ucjGf+UEVteZACKJ0ueirgxAQl9VtW3OlKXDP8Ry2wOHtlU9aStxq2Fi0v7GlyeGWgSZ5DIYCnBiB+ObZKShYZPM7OrHPlkhA0bsZW2gxleHhjhDNuMYuXPvnbnfC6DAWGh22ql2Q0jk2Yj4UphnetA36b59TCUAszTm9uUXleJ8cmXxZbZD/8FzLgQy1SWg6dZA06ayVBFbZOVa6onBlQkpbzWGsSm2GCggP3bMTbXCDf1FN3lwkQEv2x0h80kKI8t7fEjBVhhBIiISK0Hh8IwMDwqDNLppIbzQGwqZbyP7y5BJQ2shYfBVrAYJlBvPybfkWFgW/Q0hB1HItg/Grld35RWGvAUGEtUC6+1ctuwwdfvepZ/Gk6GuBHpsYKX1pEXbFImy4HxjyhfTFs4z3miuhJR76XThhn8Bn3IRDOxDgPmEghOjzrtLgdgOz1xMVpGpvp2BGuQ65vyj8PHWezIW1ilu5UuTCyC/oOojVGVAzk8YmSUEaMXdnUUxbutqh+Uoh1tdsFbIXk7CCiC+unmsU2HOWG2mq8B99p6N1tsBsmUz2oVUpAwPnWBZt5gL/3mky6gI92fQgPLbZgHbHrr8KmYTN8NzzrL08Ml2YB/7+VaNRAVSKDiQ8+9p3mJKVwihXxHyZnTomp8BUrGwkH090O3UNmIt+jf83dYiTZq1K26+FE4l+6+eSrdk0sxMutJGE4+7hytlPt5H4kREvZV5OaQazhtB3k4vdbqAA0UrHn+LQRMJWBnrrlrm5ipnpew6TW9cGkOG2tYFwgxC0VQAiyOnNO8eGAqkOi7tz1a+Jsk0J2cSePgFcUK4hOoKpGDoGxsoMWUllIVoM8+KVQrcK1PUqV+kwgkHn6sRkCiuLROhP1qIyouAbkzsvt8CD2s6YgsusElD3sVEQjWSt+63tzSGuz0Z4GWZ3PfYjqXn1lQXaEqulYImki6dt9x41KlRibMFKH6Q86lRIpeWjOj1kmEByjO9v4eyp+EfOYJY+KEw05aS/W5CWAaYY2dBXgKYNibHbWOVTIwIjGrhWcFz5g9Uaaoe52YTk0Y2IwDwbfbLaYIJ034xxdh4uYEqCvd90bi82bj9MvryprMYrXe0MHUt6LTVFiaph/brHmXuiNgCiXUe+U3WncDA12bBF+cDCkl3suEZqYBhUqcTY4QYp+no66AkfeuShfqg2hc/0sP/dtWzy7BHHdJx7nvKPUyIapSIZ4Rmv209BSRMRI7mpxAV/HgNThoKvqBG4SuAzSio1REe3zGe01kRlMf+tLoHZv869QJrMUxeYoOjAPiancQ4ym4K8LX8Swr4MKtaEG7mm+IaV0SaRcNNt3pCXEaSU74K5ih//+LqLbqoj126/cJvkQqZutEJCx8V6gghAfkIa+zBS6wlc7O3W6FJbyx+i00ED/VBabyyLHa5UvRMAs+LCD/dVzqfbfqRWshTnpARtljh9lQs+lOaJV/184v4rs7gcCqTEN4xfR1LBG0Bci26UzFeuP58PzeEswaBUpZ5aeEnRrWdtNycdAhIlZTl6aTVyW7qX+/GLb+hybazKRsZZAXH0Pwbbj+b5YuUOAkX+Sf9P6ddPJgK7Jq9FdmvzWv+NkZjh9rW6rmY3aTFKQ0SxrDdL14buQVU1MatvI1MRVWk1Kl3R1NXxhBOYZKDa/dzGJJ3Se5LpwpBJmv98wlMYN4+e6dR3MYVbVUCeXrxkdXE1GslCIuTf2RaTsCYK1mGo2KQRa6cGGvPJVMbT85tHS2w0Q1I9PsChHVi6G1r79kiwlgi3kLi3ZRppmClKhAdQs4Etdzr7FjAtIgXP86w313NLcogQBBPsUTkRgajAYHBa1Wmc5IK6h+vKkXunGwXPDvYCN4s3Ovbkg+gBFmemNvWdZV0gzLEJt67/ZIH6YE0BJvVK9xEMmCuAGmtCrpZjvTVkvMiQQBO/tZZ/72wfbuydQJl8cuJ/1Qf1O5zmX00nIC3I/fCpuxccEoD8qQ/O72YaZZRdnbgdDD1MlooaTsQcXbc7Z+dq/47Yxv03N+26qQBgBPz9pq0nf0uLmPwBwSD9dCIuMdXooyrG5Ux5+eOVq+MGUQ2te7Hb9MsK4Y4fgZ4Mez0mZaVQCkfpqXHYJ3+e0rUQd+kuXHd5oTD7i+A0p5lGbxI4Z+Cc83WuBvoq9ZGg2dHeR/NQhuR6zf1VE18l9EEHiFu1awlFDTP26jxeSVcfHsLF7FSZUmZSvZTcy7X2+kEUIVeI/cLXdbC27PoSZI3mX7hTbOIcOGDQK48PUQdBKRc6/uEzZYxsxIbc1g1+mnZyJFGOR9h9CBI5k2pHT/64vF4iGsH5LkoWg7sAnPEIZlFxFhbPWuK/eqmua+E0EIEhgr/XCVNYE6+6L63nBYvOKxTQzEbtK0z03XnEky62RI7PORddJp+LafAIHX1/+GEj4eb6e+Pyc4geHd79LUrrP1HyhD+Ip7HNxQ0Zg1P3uol6ONGqZI7HDmSNBiAMA755tMS3yGq80oVOzoYvRYQJo0V8q/Mw+NY7qC4Jyb/NLU6ZBKVadyRCP1RBffScMVNeeW+WlMDpCc43rHrNx+OWvXlEudbNhEGRlTh3aJpWVAxs6UR6DbMdNOqMsTWwDgWspqNgFo1dLsLh+9ztdkJ+9yVcoBpJCQrUwvH4M4M2DuQPc3QV30f7kTCNGhQ7FLy92tSEc3PgIvLI80d4drLr8MIjAzdxQQhsBcCQW7V2F6I3HMOUf2azW+2Uv4KtLnVYu3C9jUu1sqJksz/mnxLuYrXQFmUwkiOtTFMnGwFZ47HsLzz1w/8yO7XFGlongco2FwH71tV5JYTJjIKKcwTKuFB6BzU/sovtYcB55PcoTM7JvUSCSmWSVINYh5m8yQx27i1IvO1Czp9f11L8tG7iYntMYJWXYPsG3E3EkIWuCNoTa5sJK5BzNGR6RpDNa9ZIAjsrCcM8BYJP9YPQ3v8CyUF2M3sXf1/EuixQPxZ5vPapPwKRtblyXr8DPqk5PZlUEq4TNTfidsD4fL5ydwsaqCCvLnRkLlo8gdD8ZoJUiuBzCawtKFcQZrq/H0BO7LTGj03XqmC3LrMr4qgzNG/mSlZE5cc+WSELnXloS1BJCxn3/dRVekDheHOj4BkLmKXbwx8pev8RBrWSzkEwFQiJD0+r0XRn/OevaWSqpMP8tbXQAc1jfgnzKbTIaxam37U0l4sizIO8+vJc5Vp1V8s8bDvDz6PaOq3HbTY3Tn3BI97CC7m9IR91H2rFoVRvxNvFj7O7xWbpVSmX57vJzMj667CTmbfc9EDJRuXXmxTerElaojFAmvAvN3NZvlCJYSY8vkczmpyJbhzgijPovXe4NWLq6gkC005QPCNp2GMmNuFZ7gDacN32iClcl8qUssZo2vGo8nEB5h0sOgRFcZ9xVMgPN/UNcGQpxO2h/RsS4+O7NK+WOfM+ZBfsKdPbpImyxNQsPojR4uPoxUZlQPUlZ7a/3r6aV5nHjFjV+7PCHs3RKqaYoZSu6rgbGJqVHVerXoSdVDDRtwtQmCS2em2BUUTYFY9W0vBwAOwE1AQKu5tbJ8lWVjCPsTGZBYw9nL1ETidip+wtCp7SG9Yf0fJsC7L/GpAP9WdBPPAq14zuC/xEGSM1iaLE0BdBKO0SpHPS50ghgyPeKJrBN1cyZAqtO2LnS4BZnaIxXMBpEl2bKjxZfBv+AI4pCEiWDitOIUp5O9SdmJ1/XPq7N9HUcU7XjtESguIkCgGa2TdJ007mcSsKivrHJG9BCsFjglZHlJaixWpEIaAGIvUBYFo9yKQKzmJibP2yVwHASVxqseEu38nv+Jnan/pigjBo+1d2tXFM70WjpSgVKLcr/aKCiRv2o6WWgrm3HqNTrNWlANL/025vEtx352WzSAvvX1INHeF4/V8fWOYurywmRW5KmRWvbpqih+YxyCMqhZvsrQHBpzMvv143wF9dg4NHdnuv5jKkT6T2ufakME35tyDIJsLr/JVnMCuVNlkStZm9Y8QHJj3j6/4OdhxMdMxTSXU0pLL/Y7seMhz/Ammeh2rsGLhmL7NHZO4iHIqN5xTuAUwxyO/c3gjbtAHe4P++OeG4SqRTKeHdfZ/Ax48wDrReNt2cAZCqeToj0M5MzBQm375qa81Qlo/B5H5A6Mz0Fj6DU08obpWR6SlAM7nUO8US5o74paW5YhbecjdFWGK3Le9IsMB8aKWv8iEjGWDwIhM91+BHAg8pDqBCdP3uCW/3ZxrdQh8TCG6KRwnZRLRMKx9tI24/C+TIG/zcZCWuPdsu8jD8EPFcK6Rn7yYxPUQX0vBtto6uk/49dvZ5xlyzNnLEjtG8LjLJl3XQVMweciTn7pNKcMEwziCEg9aA+Or+PviaAx7SpoJp7/BoaczW5KqBHsDMCddeFUYLMspz4zJBPcK9QP3b9tA1BGPbIPFJciXj2RiTH2tPtIfQceVSB9AxqrfnyQJ2DN/H061/xnJL53Fdb4VXXWUzaUQDpL8JVQMrqeH+SI/z/ZPvhr2CloxLeSyFvHigBpgqbVchntw0berlSAuHg0RFqvCDE1QE2dr/1fyueyAopNvVfNiNJ97LmnJ7O2X7Hsbyapz7pnp1yirMHoFOTTggSeAee9PFm/9851/8pFSia5nQ+pURrHF8AeQd0LzaGiG+ybMSpZT4ulI9jHgZHTArDVHCfg3Tf5UcIWQT407wIXf3WQ566jlHx9t8ksqsvegcFLrF1lcJxs1NdvzWE12mDoOCZGK6tvq9K3HN806vaWDHqMHj5Tjs7kg9IfVGf9FkVlpChaoEUsTBCyIdetXlauLbhWyfys0Xmd0W+NJSVdPjxRIjWYVSoBsGn09qxSF2muQLZM+w9JVjRmePiJ11Yj7U0Q/ATsNNtG8TKweaLdEQg2mTEWUWythC0vBVN7yF+QSXJipy6gw+mqO5jjqXm288jUvOCrnXv8Xdcqu8zYVdxM+3OFxR0AmwD3oEip6wIfiiIEB/qRdxpNnfKOq/ILUq2yBCfSJQrE5JKOfmruXXIqlHgPwxeteFRrbYgvkzISyDM369Pf6PPK6qEbDhWUvDd/G4MOUMhPtst5teRy1eN+KQaThVJyBvpf42BqNNRC7BQvdf2j6Br5KubXPpP3rfu/GbklB+uOdn2Po+q7sGfEJnmywP7WrY9SBNCBJdiZuV0bsEw1qbFmvXbT+fDPHGxuzXUIatSFQVzM51ka0CXKPj80Eg1zKcg/RFVROZmjyhgkoSoQaN3yREiXZvEZAH0wrw8D760qKFB8u6d+vxJGC+qge0/vtlQcT1bCm4BysM+IeCDLztfwISG9wtAcAD+nQZpQkIlIipmSmlZsXdYQLTjvheCW1iEKGm6f4VxihH5uDlVRr09F7yc1il/cqiu5QPWWrV8q5IySLBGXdmdshhroJxGmmOJ4t3Kfk/5pF38i3Lb8d9Lob1VvGZn608yxgkQhntEdBfKcFXrPsc+0lmK35HGUjQUJNoas3SdOC42jiwkN3RomlqL38t/X6aJn8Vak9CTr1/w5zjZW+H0GZ1IxMZenyb+OecGJ8kBDbFbO4HrMCNaaSp7IMkFoqXvzhvPkbjMrPnLFhX/f8WXOy/8ENMXZ8NIwz5HD8n7Fan+XrxOLgsNJIjQ2H9AXQZtMUETZ/BmkccgDxq2yEGhtooCzAH8SJm9ex8+28wL3+cqcQCEcnrciJfWcQi8Jg2SrhU6+nfY1SM6tT6PoUqPzETvl/gaqoFbTHcMcqgpcrA/aiQk6MdHyPqoc6pBy5HnNmfAwd8jApvvrcoVmxtsPVuKHlHPUTig8viarV9MA1woZ2mJ9tlkYMmK2o4FCx7Gdw73WKH8g/Glmti/iBfzpkRr6e2iVhGbSDoYU/ZjA8LOMdEuGClSvhkTvNM6A05VgpzG44ZjRRxMIcrqUAo0ew0m4hw7W45rM5bUi0381e2BQN20Doketwo50L1ZbfWK40oqphjunKu/aklPN7THyfoVXAwV2d1VdJYuE10KkGyS5Y4gtiTrWL9T4DLsUd005YMQ9r2zHpQOPfHBIOKQ2f+r2oQhvgCfchW5BjOUWpsm3XprHEjrdGJlsiEvuNRW0c/Mitm3DNvMgEDup4ixkEtf63ko0dR1xfN3dz6gg7EcmII30DKmL510SYPmyGU6EVYPU3p+TZPvVHDAEodKOlz03xdpHVMlZDU/KlL8Dyje6M6HwbzrBJ4au0MZCSwDnzFS7mw2J30niWgACzPRH3KFGys+EMrsiZaw/B20O58kDd0O2s0u6N9YvWtPvuyROW1V2AF4xE21rFFnMuximWB3tRg6og+eno8iHf2J+BKOc/gQkXu6wfYOyPBRY9U0+tMkWoI9t2FY4kdcz2QTFX2aTSoGiegU/9wHUZdyV8++cv4l9K7+D4tqIu9vQupMwcpjHq/RLfaWkkBf1KAx8Uq0Lr2Fl67SCT2q+LP/2/k4HX/n6mYJD/L3SdtDEBqlI48hEfB/CPMpmnKfvsgqAnw2/hYS2x+ijAp0opblRnOV2T3ncJyqtrlDguJcPZL5+uNz3GkVm3tslPPGic7seFmm6zhAO0WXnke4Mrh9SeXFDn/Movs6sLyapcok156l4x2sOSnrTJsdexhjMed4tuTqEbBPcstvADmChx1ZSQ3yf++LDrqpvq0XjzcSoEsquEuJqR8OSpshyfQGqPAhONZ6wUYKgL3A6FpuUTa0+QB7XI9861TUs9wWqPf/XKKt/PoKCD6FMg/MbAyJgVrBnjWBBZPiZCmn2DM4RJxwp1hiKuoIYheKVpf4lhUl73rKvXEcVXt0egDzIuSwrnC1waQ2j1XEQdg+MDEbKWqtM8p4cE0GyR+/eLF+pH/SUc10610NHCD5HuA6buOAKGI+Sj4lSwwG7M3ysUyLsjL+yZzjhIq1hI9MIq3pTN3TWpSNkV9ivhwlQN28xxR0hBQdKb7TGaMm9JowHcp9HDRBtAntm6Xzx+vPurZc8OFc5JBlIf823wn+rz92dPDAArMGHlFBysooTSj85VdBybRV0OroK510TV94pGv7Xfcl2MUhty3iUMDp91cXRCLfCaFbj1TKpqj6jbSRSMXt72MRZ2SzsH5NhxF+xWAXY3D7MjmGg2Vg1ltG3MrP8odzLLMeivjmAkkpEkY4QZPbjM4vGHD2FOn/Fiz3/qTDsjQztwQUYjcaQRmP4FYZyzYLChD20YSvuO1jMHblvl0s0i8fDF5c4kTxXME8BbtTQ2JE6hCtfebsoFkvfSL2cDP2uzJhwR5bQALITTahiyJtlJ+s3+yZw2V8qxdAZtOT5QqVJ3+eJsZ8r0GekiJGTuVeC18bbBqHT54Z9xQ5WyrPpqc99AsoYfAzbi2l4rC9M7mWVcvwrRj/qOb6UBzGTALgoz2cxg4+R5Y21EE4FBBaaqXomQaWOO3OppTyJFajMq4s5s8oysxiAPLoql39AtMnuxHrnEldikk7EThKdiTmXmr7CyhewxTmnqWhi1vcEWxjKUmsgXiAO8eYNwTASrMCq5XQdtPch5jd4+AUGPUuoqGtMFGm2s64WdiFTtoVgyO8a4280D7eQPSY+rzQfj3WvnaLHBZiMmpGkBTruLOwjbeMyq+XsgiWvrCM5YWWqR4ND/cJQpgU9ii0sAiV6+Lg8UxJIyh7UiKVkTyGNYpETERW0qe5BkJlYFF9UGt1bOJwYRisTAq6kBdhyBbrEx4D28RcHV3Qv43p7HY/B1zALxJaudFf2dU676NV2KN1V8tXHGWg96g2RnAK/BWMHysjGa5C5Mf/6wn3ZXZEFgsNI8DJ9gGZL9vAXgKFuOivcLZwiWy+v3wL9thZ5k6jbhH9gNyzE9rAUxLk4pE07tYnIKk6nm/dkacXGrATyQ21ncCN1vhp/wo/6PG6o+SmVdfzLswE/xQrL/PYcd7FtQfiDgsjlYZCHfcBXdE4exTdpVEKRteXIq4UbZtMg73jM1n8rd/cVqQTJrXqjwPX+GsHPOCDXgpHGYOxd2AR/HfAegZNR/JWom4NxlyILmaQbogp7lLu0Dy1bXOPjYJMWEu6vJGwLnLQ5Zt3HL9OkalkpQkCaAkZzWtvvVDutxggc5vGZBfeoXdfntkSvd4br8VClSMAVcrqF9QzOs1n4brMN72TeMiXndWW3mmsmvvk9XpAJB/ali1JvgEsXeH5AyYMaSPrqonZ04EjNhKmyp+YZBtpz5w1uz9AzzOtWbGzwtE0kmFLkai8lW4rU/0NhbpYtP921kag0xyNmh3os//yvPrEj5GwwNqsKc5B9yIrzox2oFh65hQGYzPrKxEA+vUft5pxhfjmU3i6TVT+RAz/NlmEqyDNrbtvuyssbBkwIAmocJxyyiJmMqy3Mdlk+g4wlbHLPPWUXeqWAEVikBiC7/chwuG1S31FBNPK6iWAHd9bCu27pN2AzQAbZ8hCleWoIC012Sd/GMRVn8PjLk0eIoFYDNqtbo+2Vhv/uEINS8vOe7DbPmAbLtFox2DcpOYhVZzFXp2UkGV3UYKO+3jpE1F6/SlseWGnlr08qlQ0j7CRleSLDrKzftLCvaMMn9ET5+4TX7DnBkbxnGmmGQ6mIHQuDxfPE1rD6AKa4FOC4txMizhSe9Tx2fqw0pjnTXM8kWZ0ESsvOkLNP8nec/unbJaNmk9I+DLOtCidXcCs2mvsqDDs7Hu/6ECYmG3pim8+WKm5BNsls0Yr+sCkhLJDsAEd+X1K1OjrhPPtrCeoD4TurjZoZlcl/8oKtkUgA2VFLFEYyRznO/tu1NmELhnnYoGeztAXugSL3Ks4YIeYLap7BKI3wsUnO2sr9nfw0ydzpfu5bgDfQfUUCRZAc9MDQbcqGc2juwhm4TcDRgnQ8Y4AWf4LwRCnnG1hYERM8b/tqxnk6Zo8ewr9Y9J3w5iSbdPGXDa0nxTy9/qn8WsuLFGP2T0CK2J7EEqs5yLL5J2+7lzVrRjyYulG6rA8D86yt04l7XfFijqoeM1NNchEyFiJBfodA1zfRk40gMkCs4b4VRGh5LM9HxhkWWpIfwnhZtMH66EqrUbrMQ43A7JwNtCqrBdUT5OkMa3A6vuQS6x0D1lpFfzGA/+ppc4Kj39Zci94dBe1KdVLj8OAoShw2zdFozN5Kq1m0jmuAv4zhv/361nQP91pwBpK8iJXAZi81GhIX/JfoQm0ROmPF+i9xGh2TwH6XV5oy+v8cwhoKvgInHfgYxTzsxyGYcSloMmFldqesbtP+GLexxBGgiaEDUQpi62L/4B+JMgJCi4PNfx/Tcvk7E0jumBEm89ILXd/OiipfKmKUc7WdirIiqZfUpgKA9DgcKPVEFz7AFGay396971jbWZzMbA+02W6UY3bny1frcLkMgAO3dfAp2lekQdzLx9mQWB7/0c3fY8et0ddd3hEOSs3Lo75lF00x9N+xpXstubFd851ymmmKZBJC5OBnf6ILTlT7t/HONrq4sot3cToxeGxdquxEXEbCurRxsGjKOUwTAMl4csyxjiE1ZJMXY6TIyxmyKYvRQF21BdoG1SUGp3zOlsWyhiXf//Z0vZrx/aB8h04gJIwAffjxB0hbUNtw+Fz+pooVNS30I7Rl3cm0tr4FLR1lXZliXQGEwt77VCEea/0mIfyGE/IPesSyvArvZBuwvL+Cj6HG1DUZCvVRMNwzLIl+U9NhcyRfxbPjuFldE16ixx+oaMFrqS1DtJQqiCwWaGIfn7t5useClvKkPImlLuI9iFFId293bTtZpdjVZfkKU2gMUt3rUvYqwnzQcI8+IeLT8RGtjggr3cajUEVITVVw4JzFOnstlLN6jdCq7UfKpoOgfaoaNlCVF8b365lmhgsHls3gMHrlquSEmuuGrwqIl/e4b+C2lvTMn/tpT9cgCBGAVKZAj+hdkof9hQTBrMHRAnqCcunmleCk8/35jtyAZ3me4QnEukjL7ExFoJPRoZf03bsv5hB+9ra1ht/Lk0o07c4O0TVgbXUJN36Y7BpNLMxdWROSdRJWPTbDHxsAQVfeCdZkddt7MR/3eiJ2bxdxQ2wniv19rVsCq367fl4bQ643DxKapTZcS+y3z/sWZPvHvBEjmGoggmvl/1DTYFl8Eo9YiTGApmp/XXZmXHj0LROG6Do5Hvw/FU56hB9wC7nAFx3OTPmyTuYJKrEFxLiky/xJ47C96C0Cs5SIcoHjR3Chhz3EAHw6xVaf7SjKQDfmJUTZU+ii4WaoSgCnOCa+XCTIPj3A/qWDS0JW0dS/VwTvWJ55oRpcdHBg1xkJ5BjobtDNK/4KL9FaKCckLBUdPHbfocxMBFU16gN8bbny/4fOiDo3ZNBi4k3kr9rcXTNIdH2wi8sLhNoLME8p9huP5UkNpHwWmNyVKPryuLlVzbeAH3e51kFOgSYKyw1G2n3wfHrJ8yxYJupyVb3VSo0z/mPbwon0DZ6KLiU6yA8+Af0DkR+51XujaI35rIwotKsvTXgRN30RERdShUcQhPbdJm/OENvYtY3Y3yw6Ace0a1VyrjpRLIoxXKiT+8uZL7Z5En2vBCDQP/KQz75LMPx06hq2gD+ZEgSLDA97pTnumoObqwqz6ncLAEACeYpYExxD0QiAHxZcSzg/MI0x3WOJS8itiRPp1eOqf8IpS4924CNi9ypg4WEgQz6+EUHx0k7eKM4tTiG76Vbm6UwOWz0sKByWsKRBVE5sd/lj+//1i0MIwohOXe7QPwIgT2ksuL02g38JiehJK2MNYtfdMwTtt+xdIZK6HvHJ0KTFKNN7666vS3tNZlhoOaxNn7vy+cC6mKgoaQewmUFMdW8ZX78hBthQp1kGDnRDAk1M0O5Rd2y3sAips3gYMPBFZmi1D+mR7oXu+ENDjqpIzsC+DF29nMMl7nIdmsEhsF3d1304RqF5ROagFZa0N/8qWj25NJdi+X3KWcVbVUs/6pdsf+SQZKJMUZAI2Tt6j+KwiS5Wb0rgSt7TWgtD09re8UWt0zvitm7Yx810Pc6sZN3aZ5I6BpzzVQLdD73Eehc8oDWaEbmI2ZXsNL9CsHPTGXbJ/geRxslBxbaGsADBwts1rIyDw3g8cWKrAKh6Ki8gGAmXGH000lQl7WlAJd3tjLsgAlV3N+Uhzz7UHKqkLtOJNiPSSzbBN8e6jeKhLD1wUrKHt1P5OfvpxcYu/xl31zY+S2t3Z/diXYX5pZmUzdOEytFy3UI7K+pn/Z4IKC/y1ULdaR9thr17ru3FsbLV/5xP/jg9EDUaMZSmfueWJKQaPIruS1yQAGs3v0d3Cdmc/19L/Ql2Og5Vptzg+YghCdR+sh9HAXhm82A2c2SDjSEyd7S/6oxJ9NHveaFR0erFjgdUrOvUT0U9Sh4P4tmm0oNWf5E8cEDovAogBUpUS1xC4Wlrt0sHwkZXi1Ws6eMjWWpvi7aAAWAgvmmbu/PWubrvRN4w9R6jXMdN3XVio1mH8YuUunaqnXJzsHr2LRB0mWMBZFfBKFlzNVjHnWKstFsvT7s+mdK9icXhsTLlG5tyCBTFpooolYHqLewDt1vHiKK0mK8eZmUVbyVDCk3MsooyetTFwsE900dA9Kij9BXOBxO6wLMKGPDbXQR+7rJWFFNv+7Z/lJ7Jqb6EhjIeJM/lnIMWu1bGlJ9ZYxWNjPHMFOqyyDmW3uHALUEoQhH1GdhGkPoFYMq6MGU4lLBWLxVM2Vax5bemUT8CBnJwfm1A0VWJM1SUdoqeUFwwPYSRVxul5kMv0/LeEctw3kVQQXFGgRF+pLnlwob+Av+h0WI4qfGfg8Ih6DsZaUFial+838awZ3x2XKkvAcFbyOMPzDZOfPcuci6G9ea/D6E3v9jNO848vpftUVnuWR3jBqEYi1yfA6x2WAQjUAarDqwThA8Rf1vCz14jvhuBcMGoBCUZIJ+Xa/LgG7el2hSPx8i4Q5mG9v6B3GT52oX+yg4Le/OkBVyQcFe0ssuVTIOncqcCiNOOhrZTxFZLkPWejTWgXVydHkgJQdgOX7UVHSwRYo6cDwYwmRwvbYAMtj98zA7uNa67+5/KnVhRurQOe+tNLO1Z+HZW2FdkOfqYVDKrDA1BzskqVPmqCfpYLnTRYhVFRbpuivJUiR2uHFLb7PwYBalHPnYlf7Ogd8MXZzfp0VnwGNdjpbjeeQqI8hvtome/FPG/gAjwB2Htk1T/7OwZiSEJjt+Fs86TXFJ0tOHxzcTAMyrbBXM6IFWsyF6RT8jVmWSup8RyZRjp/JjVIiMuAOdfqtlFwIX3w+r4r2gMWG8DBrQB7W+ZcbSYg1EpOAn32QL7Hyibh4ee6Y5rf7j0Z1h6UP7b3wptMx3tfiDNquwIgQMuLmPUUobA11AgXt5NGDd98WA/v6aXglpzCt4Rj5mBWDe9QM4INtLDyirM32xHaWg1yMPG6TmMxGeVH4wr2+FgsJ0KTpBf4MeBlbS2KuqxbJUMRwhZIUnTsQ5yd4M7XZBJYkFdYCJxy31Nlhcn+B6drrrZ/AUYiHDRGGhYayvUffJMTtXu24ueJbki7b9QDx4pAwQOR0AWiWGuy8/9tZtqCDhZk73LEJbU/CuncfCRzuvWxQCLCn6o911HMNrLspi02M86iNQWwhuGX04rYj9QUstgCMXgWFJ6XllEIGKXZiRXOluNE5bw1n5mnDYnxzqJcmePho2/R5ayK8BvEzcv0m1QX1lILHb7L4MvdZ4P85cHBdlFmKJB+V3vtD5eU4xeKWfKnNe6sm4M8QQ1LHhSA0oMOkK5GyPEvxPFVmDjmWbuYXC41HTZgZFuIKQZ8kVsgx+wnf6GMcAfVko+a+cwq+ohFxT10M5gAoRIa1XBNUWJlpv3SPQO2yUvqJakgdnDIqh6dvePQM1/A1SyiO0/FXRxccv4r5EHC4zGZFXy/ZGQkwvGVkKiAgHn86F0NaRWK1VibhnnZY23DNumvjSjVeQWnvrFQijs7eT1h0wTAyZKNWMabYhbe6saAfL1JHMJ1axkvR/YWFxIVcz1N7HbAVZkvFMZe/vf9N/nNHfrxgggclXV+wUJAhjTfAZVEeaKFo37bdWJcYJ69mKrEpDcsNCFoocbekh0zw+DB1b7Wn1/kKSOkk7lL8f00bRoLCiYnOK6HIBCSypfPEzWhjF+zSn8jYgy5IWMe57uJj8nk2cOsvcV8UvqTyQhcGfrBMhJUQ1OvLCWlUKG3kJ6ykF8ubHKjLiSMeIxKR54SrtLlKCxR734A5J4hdHNRsxKsP6HpUWs22nCwBc4onXDnUbcWXHN+C/M3uwtddje4B/J/Gc84nNo3nYIHznJ6bI85/iSxVE7f/bjZghOtE2KRtyMWCBFwN3DsYMPJX2aRvtxMAnXx595Exq0okfQ4sYsgtNG8fufsE8KtE82jRoibm6SuAXpJHFidrRVkHNjbXIvHYqEMQmB9MD8/NdtoTx+JeX4tlZvAyyYmEU8S5/F54zVzxn0JGkYxH3PojTxym0Ut6KYiQ5khfiRfQcbtYyI+DeRwXRBbu1Vt1CrSoLJS9wciM3Bu/T4KsdOfpAFFlgUwlw9ay/sWtjBWlb8ozeQFLw47RhOYAcePNzKs7FQxPJgaisI0r6hOg9gkF/RPH+LT9Tc8LnZxm1fyoqd3A32XZp6rQCd0C+88DEcScXNPcud5beQXYPffoM8ny+NpV4Bcm3CEm4/HahYC8gkvr7XaFgbLIYxz6hsx8knKw6iIAaXdz33F20noLfEvajIaN6zG+DpPExLaJcu3ikd4WVqBoc7Nmqyy3rTjtUu3nWz0++jT8xqG5XP1fO3sKCPjnFwbcyP+sq1c7lRvWiVER5aOgp5WCSBVi09+k4mjskTmttRxQMJh8YoppBRp8OvdrKc+Q1BKt8s5utJlfJXgcf+tYtjTIrg7gqbXJIhGSpAl6oWzOqgRbSXwn6/Wg56oTIEdfQC7MnX2yC7kpdCQGagF+wsCjDZX7TwqU/nbJzKJPjbnHS50lWZ9oSla1OQOXsDfTJk8WnqI/BJ2EQeVr1RHhlCw5F+LB4mx6D4Ex6uvm9NYmYEuriAF9vC+QY9Ha1Hy9OQIDlipf+v8LeIoBYAM4sXxIBnahKGkKpt3f/1LPtbWKdQxl8dgm+zn/k4shaibrq7YqPcO6t7DNBC1K872myMO5oDWlnHSM5uHe2m8gZ+aPniTokk/jtpHC8LdXVuzWoejgyE6j6+Bd9XEfW9egAC9EyjF4mp0pJnoJH46AbJsnurw6zJSZYh/inWVgbXbrHyJRbtyRYMP2JJdOyzsFIjUft8BuG9TVhizZGzVjGvIzpXNSdH+Wztk8cCj24869nNUeOikQE7/2iy6ZJSWQOcQEsIQXcRjgJ3JQwGodqzLX9gxypVB2V97baIKr7Yfr2FeaS9cI6Y6EO+/BxdnbrAqvn0jZFvEee7iCHJKwtW3+72MX+FwbCguzoTbGDHVS0nY/nx5Huem2WaNeQc2jWsJW6Axs3TxBchX4wFn72kUHHtJIHUOsVDyJ5e4yqjzTVQN8BNiPebQcndsvhFnulGKasqbW77UoyCOGWAdnL96/StVpjqnx3kfct35ZbWHgBZGGorLJHJ4wLavc/Ows6+6VDMHzt8a/VyglLJE9gaOYqcXuEKQ0748cxCh4E5uqv4236ELo+PF4/6TCmb5Ln7mIFkhhGEJBzp4+B7qg3y+7GSNPcz9ex9iNNwVUaOFrsFX0nqtiL+hX2wkzKaWdxl/bM7LDODvB4P5mRX3FU1eV08HnOq1e5o1i2j6npN/4d9F7prRH4S5L04umiSvPHiQEZtk6cDPkgTptUK0YztRsRyuvVnwLA0GfpVyqKOXBe3JVt3cHJy4zzjufDbHTPwWK6oLu94yFPH778mjSpDjLGvG6S88TeU45o3pZw5A6uwZdC2W0DZwY2A5af4ttopOhSNnU4nACHk9dZ+XSLlwiC0TccP4yLfzjp4ecFAa5TcBGCCPQgyCpfoSiRsqSGWcS8F8YGGLSUNjGJiBQHDqVR+BRB6TKqJxJ1aihPF16xV6+uwZcoAi4Mc0CRh4A/cyEUj3eyeJp8217Z4WBKAAjpRxY91PbtMteXFuG+quL1tE9sur1wBQwDPI82WM3PZSqxF7IAsuFk6VqbqbSPzGFDVqB5UVBROqSddxBau5giNZRHRokFczNFAD6CAzwz23jvbZjq3gQ8Nn8TkeI4mIyyfJ3M1WtdqavYUWjEIaKDYNhtoIad+kn3qQSLlzpHhLKQyOnHLuWsK6QYUNc0fcCis6ePGR2LQBo/GdqU/YKobY51Ik1GcwTLhtRU8YShwczh3OaJEbabzUIAjR24Qn+WPVfvPmnCd3iESZJX3NHpwg9BJD58hkS7LkC0z6YcoHQXZFClEbaM/u4ia1MgqKYnnHifTiMHkJvnHByQG+88UegJayQW2XcEw5XVbq4dLMUasTKNNeSFvjLAnRTea90/Zx27UnmwgdisYUA0ceqmERvQrtIleliasbsl2U524Ke/VOcoOcpBSf9kr7h5sy6M9pj+KhI2VZxH6OBOxZxfsh1aiA0iKBBbwYtSrH1IZqUhKChglm0nccvj62lVvKYAiLe3AeRUIJfxd69kX3MfNV51L1UDxJOfJhpb2zqBDrr8j7DOPo0nnX3UrR1giHzfc+dj2phMcSJcaxEpDcJTZjoolFLba6vjxHFxu/SYBzwXcnTfSqSU9yR5tM4Nk9GjZ3QWEVJwh0mrsbEWeVks8l0Lz27IzqkAYIdkcvDxkLzYSqzhI08n4EOQ/EY4Oh5ZYgw7ImZ02lApgv305nxeN/UOrPJqgWm+VpHbw2v0W5kPnMD76GXrZvsaeq6b5UA+WjL/hgTHkUtKtsI0QTBaiON/iSMzPZkUzljBvD6Tvpc21xSlXrnUh80UzZtnNfjZx6l9RwH7XdEIS70pxzA/mihdvFWpCuUWDpzn7GyN/h+tIq5Su4eXWr43kRyhuvh+pcZYueCAa6fFlUyw61UEwgPMzxJnOB1fuuEa+O+mv3Fc4T4z9yaNW8qiPAgPn+4xHMXzk8oAW7nA3aul1vAhv2dxEE7O81VH8/7t4mWh+cTBawu13/QXCU9ENkOIFWI/81V2Mnswm2jHXvK4AM7wY5SM2HNLFKBh4aBst6H4VItcgijVFCJU4Y7qr8NckjNg/Cw8O6b75KSFBK/QuzFtg0pX6+RMiszmcodR9hPtwuBgYXvg/e924S43/bGeRXxdH9Y0YT0w8njE6UbOZyEFcNGC8oOdA0OOCqPMgytznwtHSbSaT//hd2XX3/d8l4tI+iPlZwfN3LVCaIMhJOwYcVtg3EOAZjEzGX4TSgZJM0+if9GVXJEjeyG3nZsLkbTY2nWyjUKxMM9tU/FHDJ0EfU8Z234CKOaJvl3jGJN6f5trD0zUkyPTg3RppYoxVHVj9ZOb1R30VbEAbTr2KWYw0SAFlmylzQqITgtvjZatl7qiYEIdjiPHjkBQ/xvUf64Aa30BorknBWko4uLDq6AaFpTkhWufU9cg/jSgebP5nBCqZh6FIvs/VZIRiQdfcMYmWo4qywyDIn9XasXKbXVEJaQKkh8tfbQ9GzhV+Z90Z0KcX4ftIt3jibtoU0hO7gP7VAN3AC/SiqbOhVcClRNB40jTbhyg93BnP/+m/gGLtYR233xhtlri19WMVmd0s83gGCRyASsQSOe7WQ5D2ojpeY7Hv5oVWkGHQIUy297JC9xaFCkv1Vgcuz4FSObSNoJtE8ydJ6qtNGAQkn9t1qX/sB8EBcLYWQZZNzVbdlRM40gm72wlnb/Kqb2yZpFSMX/bsCJeExhYG3UoBh5aercddV1Q0rh0864FzN0c/nQ21YcE5tboJxeAwuay7NsbjBGTRnCm6gNVgXjC3EJKfdFlfAMPi5oFWem5S7AxKDWmhfTuuWAn7xqO0aec/86vJG5aCssMo1dKuD04kSEJhEdVkKr3DaIEyjpXiqWiCYRfiK/w2cUItTc+htxAjTLEkaMm9UzUimhpNNoIZGS9rq6qQ11+KoTecsqgWQ3BZqyO+k5YMqCPjnePiRMyAyl479IlBNj4X/QfZ3s0YS519SaizAiqGnMhnsiPRNzYhgDVwgZkGbLIT61Rmx4aeDG9IjeaQpbXPxYoIDLa0ssbI/IHxClvp4GBwOFjxMgny5Brt0AiM2JLgvY4rPrzxu/vIt6TLa2rrcObheCXPZNwrFVaJf9inLj49xug5DmvPsppSDoJe1DnBGVmOg85exxmM97K3Ci5NsqgOZMuDriYvCTM5Ml9wwj+332iJEe8h4wkFbKcgSUdX0Ds114rRFFQ0dGOLMz93kG/k5SCmhAiOd/CAvSVQouQ6sy8kliPkeaC8Jn1nmUa5tRV7t6jweP/GB195joCN/6cx7Kn23/AaxpRTO7nxfYc4sJPKzj8sW6UdH2gcpDImsIRiumbIC4EwhnnW0JUWM4zyUTtSFjOyxCk61b6PBFQXaUsUo0fVViBPFmVZY4q42EHRoc8zu6AY5KQh/e4EyIJ6zR8ZMZ2MhFJoModIxxjAZYf+aWM9x3dn5Q/KE6fQd823QaUVE8A2olxMxfQVz3dCK1EaznwhhlMAYo4HEWgrDtJx0HVtG4xPXEHqXzVZzK8TsQEPJe1ZcwhZ+qb4qE4QURwgFlTEFUt1MsM8rtI66lZXKuuI1mpIfYLhrTj7xq3pPNOp3MwGFF2v3+OT4HaV3tUwb5q6NzMwc+OVRltFFiQlQTQrkt2Q0EgjHphO4OntnXQizapQKWlMbtnhaznJ1bKlEjjBsZVX1U+XFKHi8Rl9zNGov/Sepo27FxcEMLTfXwhcf6f6DPpqQSi4g5i/ZxV7zBOIKSnYD/1MpfctvwzViCXXh5aXPTuGPAyAQ9A6Nki8A2RqBsZUcw4Mfce+2y9dajs3xI2FtCY7h0nY7B8lBVC8spBf5jJ1ORtAzGrv+wFOd591ZCNXvT3VnAFbhd7zMSDz2tcd7V25kAdI2GTRZLolX9SMxBz/uJ8VpQacI6fLKt7qeOA4e1asHYiYnUlOhwguOvEawvGBLEGe9WgpygTuC/sMzptHJH7euYX/Sqb2Zjz/nMHyLXNois0TCd9lTkiBezuEfA5SfqFC6zWfM/zEdO98qzL58oehXb/Cn5wUOem+wKu7jXpAiVsB5K8U7gGXYEcAGQp48L4ZAjWqdIkWWgEXV5SMlkgMKUBCFoj4bK0fcyEUkIL2t8J7pGNY3yEd+cU1uOCXpffynYeGMwbM7uCu1enM/Lx7F4i05Z6c+V4hQQOZuqd9GioKTL7OBZSnLGzDrs/QweYOv5H54MACtx92sQN2j3X+lSqmCR6yZP4x3PJsUMlMFEszHmwFjDrn0cfdDNVTJXd899a7D+pWmRzIpiQD1MY0w25LspN/bEvsMRo4gWYgNrQUaQBzS+FmPMO568gpPO7NDSpep5qrxriRwlxLMlrfwdXBHLNIyW33qiaJlmVwFCnw2zKnHunZOoW0mmI/B950MQOxB87r0F1up0+hQcxOcwDyLQ1cdIu93mUphiVbWmZF2Y9aPqrE0tqs91synJfKZ5fiPTqLNsawQUxtVcFjf27nWZpGpzv3txN+tViWm+La/Nqp2BuZztxKNmK+G3f8yuliFFjkpcWkK7ir6DWBMqA5L+sRx3IKBya4R+ZAmOtenhmIi95sL9FdsC1DN7ya4w6SG2fdsyPkYyRbECQf9B9ktnk3R2hBOgkpuzrcEVmqc6ONboRTH9MsHOT0eUhKZumHbkP1bHEEZjGDcQFb1ykO4qN/RBEKyumgv0B2MkQKjpT+l8i1f/s17V+CSBo8wZmowgOxnEvb4DLQC2/6zQmOvifPgnFZl4HzI+GOxy9qzjiplS+D+2Mayf/WvWIdz3+1S1IIxvjLESc/4k+PNpzvGdevJ+Obsus2dpKY4QEGj8+NDKFYDYlRCJa+4ApKfuJasrCtGYGNAq+APZA0qW5DeTSNjx8LVt5+Vb10WFRMI/blvv8lQzbXYv2j+b/f53ic3Re/zSHLPlXg36chgfl9GKRVNv59Zxo31iHOZX4gGrj03Hsp/U+Dg9asUlZy09eRgbYEx4+qkxpE88TpoIOklO3IhonrpZAyDd7hJ2RwRa40enxNY0sL5z1vs47fuEbR3xWj4XL1rvzTHzQcNY0QETTktaoYO8QBRY9Z0YDxgVApdEKiKVRX6BhtI0JmVRoTdn6e+nJKsUuC/ARCfpHQUKpsDsyQK6R2mz1/fQkqHRhKKvqx5fASuCiSkGHN3R5bGoqiKQDEvRwPEvCEadYL46B0vHRK5iGOFbGyBms9JoGQYLx9ZZY7YrfaoBjrj9edsjM2bhZXTFevhwc00uXl9qAB0NafvS/pxN829vZz4ojAE+U//nF+/NLeUr/Dg/L7qxDF5N+9XM/soEnUajHASEWz1tjVLaXu+/vLSdexrDBKVU09nUpUEIY1BNY1qLt0G1i0Ir3yaFob+xChXgJ9Ewug7/MjdWkbXMLI9CiaIThR3x2ofhX+goBqlqRTfnab6BPYh2TH1+F6IWmRtZXmFrM6hWuMQ5DY4it8agkbMY7QUx/fnRKVe0sDOa/j8ima/ZmqsxurYtrdFrrz/JQeZZ8PFHIjJvVGTaBmz3lA0eu612vytmwyGJriKk9KxBlYEwmHBGt0aojUg36mib6iveQU3CM7yMnUpg6Zl6HClzRkTPGHetH6OAeMNW+B1yfYZ5Wl1PbJZDECH5nfLs4ZfjLNFOHO78q6n51k7P/rQmQEy80IgrG2FLpUXR514Sb3yZ1kbJ1eEUlexFIOXfJxjooPUtre10l+gCFUKHhVrg+jAT49Ae78eN84SOzs/mFGKZO7upDIqJoOul62+L47UqYBC7kJ2W/2z0ZTPtLmV6fClMjpjGBQV5AVy3Tfn4C92s1C7VKbE+JAU5ov0KUQSmHEPtkGocX8t1X9NpDtvJyf8qhVs0TUwHhvOclP5p1wxpdT91u/j0hfWADJDn3fIr3b422ktNi7cccCSzaXVrkKu5Xvkq/WhdJvgRUWpCbJ5iL+pLQPXcd7Wlb4l3BRw9bv6Y49EkAZlW5ZxO7eJwDw87+iYLUsVKQ/pU9FfsVwhps2ZFW7RhrCfr7s/5IoFkYeWyY8eplsNcRcteNh5m/V1MDxYWBu1nO3RPFM6xkLese0CyRPLjvRURkvaRpFgpTbiXMFtVAmolFtyMACqHxbvHnTycHlS3bJweahzqMF62hENBlrPqeRNrsZ8wmiN1xcVYCwd/Ec2B2/jl8ewGf2b7C58zPghf5IHKgNDZDkKMNi4veFIiKmOw7eEpMFajf+dW7va+0edJLhU1tfl61B5krosSxG89WuZ0MTql0V3sc1Iys97mBsBdq2rpvhEvmmM0IXYnj2K/d7KTRmWTOCoqSeZxEDk3mJmw9Hj6HjvZ975YHbmz7FST8tMFqoKTi6+e3FSaWPiURFuFzMif8z0JciOjNJeqT0KF8agaCVjVWddVOkAobI2W/fjhvXze4oU9VTriLLpkp4D8kK/EwE4uccKhb5cxSr3IFpj15Au4ZQP+KwWlRuAxMdY3NAyVseqYXDxJjRHgfQtvVK/Q2fy5S2SvEyqDT5D0wf4y5OtGhtQu36x2XQW6Zdoyar1X+GnGoYaO4daHpZ3rGJr7tCPgi4IykxYuYj4ExIiXNlorUrZd7fLhNpHsn8dFxSWw0TVXnJ0pHJxtcO+1OBiQDeIAC0HeDrl0N4yHOcOw9LArv7wTCwuNeyqmqlnPgfLLRca2hwS7cqwmA7pV3GYZ7mNrESpunSuaBQqT3lRcwExAWsQdlzk/hjn6pFct2gRn6jyYTiiz5hvVrI5Xp41d7JMw4azPZltWtSneskPud+b9suRybaiKyGEq5N5Zvr6NJXk0FfBmkCLhk2iHB/Lou4IRkUetkzw1g02rdAaA5tTJy+hdRTfbhewcW4KiwyniYOKWmJOdQxhG7OA53RI2lmQkeZ7wcxdbOoE5Fk4j6d2I6IdT6jRicDYGH3FEqsU7UREhLE2d3gTqOXGMxeQjzwtN44Kg9WjPZwVdK2SekDNRdLLkN8iV/rMtx5FtSrCngINKKM8s83mk7BAG1sSDSK9Lc7inHiRsS/bg5d6yAfvF+lNAstn3SIvCzK3UgePOaSTL5waVsMtEDmdpkODJlq68AAvZWkDcIfkmtzRoqtND4AGLUG3V25GWMcx9K0monkqhSK4DmoqtyNf9w/09zCpPE7V4/PIwad4HrUdkFuG7J+FL201eBL2RFpG2mX0UzM1TFA5UxCtUWm/F1bycjgFmF+tnmsTkbKWpI1FVVi2sGqq2aoVYJ37cAjrAIrwdIGeSdIcAw1MakoKrPoz4AMD8dKRFE3aqaUunl3XJBx+kLmTwZekKKPCkRKH8vQWuzm9soztAnX6Q40euAO/BlG5gL4yG52F1SCmGT7mE+PvJNgEjyuzBgxqCWhb7XdOLlaSaUD+MWM7Iw1e2fr9PRTM/HYVzyS85to+x1eIeZOSfAMo9LCwA7l+Zb4309Orn8Zz2NIjBMHvd9AfL4gqAgiLn8s70f9KAsisrL+h0BFUNodpml3upZwm2oa6r7gCCtr+HiNDSxCTz1PwJiqwL9HVDaUuxH44lZemr7Amwk1ickFjNh5eMPY58BZ9O2nRdudUtkLx0itstiO6JRXkJgTm+dnbKAFwdzU2xOQ1kH4r5zGqHosP4VberNf+9l6zI6S0iQ9XblY/EG858/GilInkvF0bLlrLD/bl4ch7seedRiDhP274hu64SWgtI+gLyfKF7Bop6GYyFmjZqD/vxIAkWi3HRTlIpBLh6Da1b3J8NbhUymtqB7hXSFNgigfjYMeOIwhTdraBUTYV8wK8zkMqaqeoFIGVqEUycm70oa+JOi6qj2S25gF8BqUGUBXbpAx9NgEx0+KYT5aM9zDijHwi10V5XTaapgW9p8fpian6VZUFFzKOf05pHoJ+sSkF9zJH1eHzcnM2uKMVthQo4CKb0jlXFQ21n2+oBi4faGUbmYNJmal96kR2lsPwmPhgh5uw2Fwra71GsmNzjDnlzxxCnQq1TNtX1agMYR1iBi9JlZj5h6eGEfxggH49Fg4e7wBg7/4dUoskuzZz1soynrlFMDVFevKYqUSZ/kycGvBT2qPAvy2XZrA8gjMXFsVLjiwi24jKqpbLticJ648zVhvHFt0ytqxJVoewEOiG8vxUPIBeqSc1kxKnTjkVXd1tRtltt7n5IJ1v+6sJd3YplLMwbtOd0ulbfk5thJ/45zIWWYleAsj8nfINd2IvHqu4Lk7E8L3yYfisRl2jZcViRURwCs/IQEm8ovWh+plAdxuCaoZRBzApDvvCTsrVlZGrc/kmA7qUstQAcDSDbtv+0AuVWyD0YMZXAkDXbylDeqDO+TzNWlFYMEdzlDue6geVIKlrHqvKsoSZbw54m0WFucKkU6EQ/w6LpmrA2ACcxawn2R2yDP4G35YzhHJE41BIRLFhUR8vsrIsAiNa+MRb3abaHnI5986/keXrf3z9vAbPjNzhnRYHzke5PYvLaGNp2RY4EnErXDNoJRqI7K/PACWX+s4N4aW/ghhqylMYcYOHAd2cMMno4o1t1pL8p23Xde8w5fHiQ7ePOKYPRxfnjjJesf5a7BevP+bo8fwcpYm66kIa5lUrOXQZoqtYH8s0/dao2mwyyyUJU3+OhsPXj/iwz34NAgGdSETlmrCPWLZIx6qdo0unkspnRLa1/qLE9pOL/uFYJ5I19qkDYbszTG/srdpXbqSoAXKWBXMxhxJpE4zv91LkolDk7CirKom4mbpKQRtkIeI5woUhz3diKLzY79Cme2KTy0fz1IdibK0dEvcDexsND8oOsuQcJD77j4sxzFPgVjMuUDoX4ubv/Ye43zm3Rt1/JaZhm0f4FPzuY/pF9w5yk2tLSaRf2hb0SpVIZhq79XXiXps2Q1Aiy52i4gRiCEa2teauxJNHOvBsQz5wV5k3nlPPLJMOv0LgjQiwXpJ6QormNfB2UZU9EIJDMyBwLCNhDCipIp2lGl5gKC/nY/2k85vgmS1J/dvRlrXKmKB+/lYfZ0YUVPFiw6cb0lETpUMNnahCrZx06xVseohb4sP+fWKiAewEdm7oNs7GJTM90XZpwJZM7RIOAa0dxuu/gA7mWAdOBCfEWkFUs0AlpAFAwZrVtPP37dfKU+0Ow1tinKtx9shCDRzbugLxsPtzmeW8AVmbkftiQzJcqz3IFuCnJ6XIP7ga481Q/LBKuyWvEJxR6s/fFLUr2jWk/OZ4moizdqfByEISgKiX4vZGW3tHP5ZWswnph+NCjv3LPOpVGYGJcrfWaQsJ6QWlRhDDvFlu1Jt8fRE6LyR9TS3KPH7D58HLB5oaD4ZWKmJcMvXNOlnLUEwSgneIux2e7JSVxOF9VatHN9RMOLHuWgQuNU8oQA462YXiihCzwSc6Ckp1/0cPiktIgvcBlNw2sINX1RB9M6993N1AjFH+9zzemoUpwK/S3VzEpU+PRvfqnL3fayxcWLN1Rw/AbHKXedbNy0JZX44Vgznude0siY7XU5iB0jPJZSsOwf5k2gzNIm6oKI7bUTQcrYDlIDOK6qr1zu8ravk7pKd9/ys8qcxFKd0fra02XJm988vvNrG4gpli5pOy0xakQgAivaRKXwa8OE53b0NyFVFRZ6UBSV5Sw8OvW5jTRUh4Q/r5G3MIn+bA0mnUMaYtTuDCL4B4VQJUcZ8Txp4wP55dAlNNUdqbBefc1JZOGCupVi+gs/Di4EBTmPbt1g5OkaHGjc0m8kbOBKQ0COmxEle9cbixBnu7bcR8AVlDvOM25/N6vHUDSJx10pjjJmKnSZo6Efs7omCKJUaB1Zbqgvxna7YtbnbKTnQz9h4VeO3Ukjpi0OAbNfgbgCLN0Vdk4KH8/P4+67mal5g0l5x334zmdYZ0rp53udKIwEWGx6oYWkQ9nHJhP0doBS90e3LSsK2toLdLzfIdzeqsBr/B3LJ3hP2WnniCtP0AOoqCLoruPZOHGuQsVSDZS0KfT61G7lHdYgcP2B2G8EzdeyvjSkrFE6bK3CKDlQMQIY42HQN3c0uJqv0ZLLYgYq6lkmzPFL2f99e1qfm5Vk5ZJ8gSbUFUH8F/e0bcJ/drZtMX+O1ISHeD5DTvmmvgH7imUpEBXbEGj33MxbAWKsuiGL8Wlak2iu4r+c2fIOT4RGXwigClSJuj5H/BsmL4N0PEdiTGPn8dOULidVTkRkZkFBh42+8xCE/y5fZdX5xc5Fm6tV+R1xjNxNaclV5955sDZ+/+tMXSQ/VUgUMYzEi06WUJ0Tz398q0US5LnhQEMnNpk+A+fE7B4iu6CqUz2cZfdMU6a6gWp1Q9dlxxXx3gaOl92nF4WMswVk+LIdHBONMxODFXFHGzZ1+yGs205zp1T76yuaMwTeh1I+dx9yff19r0fujJ/eOxZH6SmBJhvCHmzFsf4/bbnp4V44KcXvyS6CCvGOAW7DrD3UOAULk4v2KAzUB+3Q0s+ZYU8jogD9A6iYH59af2BZw0c6bsXdy9yjZK56UwNBD+pKA1mkRJ0p80stLLFzC0k2nFE9lFYU+6MAlvRduajLGpn9TDD6ijsPdRro614F1IuyNiCV0CyWQrkaQGaWDCXnopQuGd6abugjT+yJ63EQlHTCQG1hyEkszP04wOmpUf8CC9Ktt6hBlUpC+mz7WuMdrAkaYM32GFqZmIiisO/xP3mVXY1RVXIjdTeeoEUeVWRYFIAmLf4Yc1EEXicDBSwaJVOVSZc0Nr93YwN9elSwi5xTOdikFYSwh80f0rNpbNig5MsZRmLIxr5cvPktL3HSMVI4qi+6CPEKWcxMYK3ih1Py35mgUGaq+YsPT+HhqO/PLfk+PV91GugTFttBBXJFR3N95LjJsMimIVkAhpih/xK7XH2b8W3uOSvAq5UZgJ+lsroUi8y3MggrvlUfvp5hUqjZqTLRH4DJneuoQ86sFm5Y4pexMLcRDb48loovnYg5gPxLp9OIPpBkaLPUX6NWiLrIjq8oh0A3kYyIRhdIpmywJ3RESEKXyllByg/k7OTmIpxLsNrfSOGqNgtA/h8Q9XMsX2aKc9n+1cr74zuSLPsgPWycHN+OfihUre5Qr3Y7/uyzAyxzUsKHlP+8Y2SZK4k/J7eNMlVM0Yl/N//x+oA3lg2X30jIBQRX15dMRmq41JDyNEo6qEw5nM3EEkTbN8XpWOCGkEFPmSPI+OD2K2qUi0moO6phdpoOPMjJAT6Zk1Y5hI8XZEfj9XhqnQ8GVknMVS4MWfY0wO8ZdsKjkzWlLfAN6QtWMNDmjDKT02lig4QR0uS5ogWEOKnADnd/ZGBedtC32WppjrW3V/SymRHMCiYNXyW66I12ubMMu68dc8tRX0GtMXmNWEjNPtwtzheVZjvEsN5xAQS6u+QCczJN2C/MuoRgxMp2bsIYpYwrlPK/mfMCuTIpJDiVM+u8xTelRXBFmUJmTj0pe7uY2COPFu0np/ScnvEO/3lsuAGlE0nW0WT6W8nKZjhFnmgQCpZYCyyZn74AnN+0WdtoVsQTsxbzAb2Mc90iJ61oFCAXhfnrOvwjuMEjWYLnO1A8Ay66wKXlPXoM0SZhdIzLQqrAptCJwqLdnmeBNZJbE8u4BFyYAiYC3NaYtBLA0NgTnHdU9jZAV/+BsDkvXQtwuOkEkUWpXu0eClg4uQmxzD+/+HCS7REzcB+v8Onl7W3GR24G3ypCyCQeSNtoJUqt118v+rifWt/V+G5JYllUKNm5/hrC5dSR6Eg0cqUBV986Dao3sOQg3FXlI6InuBu5Gw0/cnoKlp/LO2lG6FeiqUYhwFLKgq7Kv+lA/xdpW6cRIRujpHQMH93KG9BmRsxhuRsaK0VdnVmXC9yQp24eY8Bac8gI1dDV40j2MFqcklKQVNOuV8XS09H7nwkSGQ5vlc+LN8nrM+blKyBDcXW6bo6SQG7aY3xgnJLcb2yGQuSiyDErzH0TRrC/nme7+d1BrDnb5H/z4C8gqUdYRCFbR+zIh2yo7pIm6GgycKCYbW+owZfGtl5Pe4fULB4JWmUtumCJrf6iHjnJnPpZldEX6e0qRLzz9hythdh/C0k9x7Q5eI2DEDniw++oyGW2dKNpZ0kbM5LcSApwKovD1khSW8tJztKv5dz6/oQXGHe3tCl0kWYvDJhvKRhPbPmtqQokPc556+c/mTjbplDFy2KuFGlOdzqzAREPj7Ul7TVECiiybW5NSXPnVKn9Q/0K+ArD5SLGU9RIIo0Y3TIAOMwrbvwxW0HcdnwQwc9p7ehQIqmP0yFoH/w+174eOzAXT4E+2tKxGLnikA47FS+Nyp0N7Eebb6YNAZRL/fGHUiyHwi1AFmQphKRQu4s/H6IuAjPtLQNQy1PQzIjkmVjxXJ4/AamDhj2uUy+gd1ExUjSm7DjVw/PKj/M0AfNfNa6AGGn22DzUgntPqHtx8h0VE11dulJmglMoApoGyQh99yX5eQIZrelfbhtY85E629Uo89isD0Mk80fmY/Oi1F1coGXQTAvA+QbdIQyNzCrKLcj4Nj40nBpJxk46iznYqqYUabUOMdN9wvhr4HgYfyrJ36QnKbUDxLoCcQEc3m1SUIcPUDi/3xpYPzdShFidgdOjCFS5A5FbwLvHlpn9tdKZkoDodFKbuoDb3RUOB5dmJxsb1GB2E2O/IgR2YIuVezxOxpXQJFQ+3mQVR9ghQ3cujcumFhoa2SATfyy0MHCVXuxLHVjhGdHSSA+NtLytYIGHJddliXzhKBbbdxd6krhDvfDbyHSXZ9swxfPW5mboYzNpUeFxITdCTrLbrDtD1Rz8vhU52wdsMJsfugOuEFVezNCENz9DeB+GopWhoWEh46Ru7g4K0nQkpF0NV5KuOeWM+oSGOqW2XIS7irjVps+ycv2Iho8eltLCjyNY0U9JjLWGhJO+5L4ahNBt2KMJx4WW+SXrHG7fXGqDRJwRmhbeGwe0ccvn/B9SzAsViMo9ydWBP1Odl3vDj8WM6nsQDMEdKv/E/8JgNmrHYV3/HAbYVyd/xvGvhnuQMYg0ST+w2oab7WRks6ziYZK0138xRttExCT62HE6e/GOFCezUibVlmPGwm+MX2xnlJooI0RgRExrXutA+QbNY9R94P4q/Cc70tzTwdO1r9KJ+pTNrnpSA/J78mGx013wTU5+iWm9Ib/lFrN7gm7QtL+WX+OT28t666sZUNZfOOcX1iRZONH7R+DtmtCEOnyvNUOINW0FNENRzL4rsdFPJrY8Gf5OmlsqMeTBMUdR1tQN4okHTTRRb6Z39h/aylKOE9fGMWZmR70n3moTJp3h9D3RFZgi441L7kXi9HYTQrqPBfo2ksPdN2qMdz+7CHzYyTt5o+k4WCJM127vEEQZ1ZDpMsfK4Fzf8xgwNInD0gm8GYZ7roEeTCfcP2bTX81jR13iB7alQCJTzFT/YrH6W/fTbHY8u+0WYzNM3FupzqpA0DR3XCIIbtCL97yXUIqOl85DXBs2S52HEiC0A5GsMD0+KaG/aIoSobRx8T95jpAD2Y7SXFPa+9gNq5q9mM9WfaaLGlZEtpHiwEQPxpxTstoIgUBfhcxb+SyCfxJb5bq8E7ziqm9vUtWaHApkY/10+JnBtF/G5TSK3mCECpUUTE6MbKPwdJ/hEWvfAmzRq03qb8RfK6i/zsn/RcKc1wmHEc757bVAH/MULX/ezEUogDEGiIfP2+trGUtEYR73Au1Jb2l2NKEVfuK0A7B9KUqGCHZN3f7zf7B8T3UkwFTpWwDNDexHyRV7aSdZ4TIXY11jIxUYR8J9UCjNnhikhYc0RFLDLk/+6/M40qwjDq6K+6tqU/tzLlbSKEqoaNJvoKl/PayoxdFPiMPw6+ZQd4IPXaxJZkxn7U534ZZK6SxO9o4Y4sa8c2Si/7HRVt6kcGuoR+ZMlIXeh0Jo0L608HdBmqtr8yqaBURNNp0S0SuuKXAmq/18FMB0Hj4iXrq5L4Wbsbufm+GQrVNzhfUSqbtJ7von/CgwXtmTsSYJ9bFmBnERTC2o3phDKTEWvMWtYJOMSY406w7TqEAap5g0xGNCa4lsx9II2jox6Mv3H5ey+DnGRsPVrPmFvGnsDhXX5azW1gKsI9RE65RAQN9Re8O1LXuhM2sXdParq3ob+Se7IS8OBCTRd+V4T4txM3A9kwTjTt6blHjtET+L3H6qwoe+k8VzSkJtP0Bv5MIaZZuZlr+8Nnpi/54sz4PmQT6at1bwvGHjuUO+Hv97UDAuAchhqkhRrFBW/TeMlvK189cmya2xVaQ2EWZvmwZsdd/N4AOdv6obQuyQjZ7xTXWP7+sUGIVkW+k0yEhTs+tEiS8gw15mS7/EgQUQTNfqgohJcStISLhLG6hqATn1Mi8VjpCiHuKbVKTfyFo49SNX/H/NtbJ79B9mL8N+facz+Gx2ixFbChZikvnW+uFTYtQuVvY59dEltW2kvJBKfWclbHEWccjMemg0LXYyvADziEyK39qedUqNatXZbmbLbvD6rm+6EjXQdIt5577+0y9XL9Q4wVpDnoKSyfuo+4jkqdQa4PrWoiPsoy52JP+zLXkV901TOCnQvvETvtly1pSk2I/1xSL1sXAx3skW8VELEgblxLdc/XWE4uhfxk2fUaDPew3vggFAim2W3k7mjlsJr+siutFeZuFPUY+2kn+ikjt2boZ2uDePqd8uesE1LejtTGSWy9EMBG6jnVN28IdbGRecKy5QoN88iKdW8EOEz30635QltmRjcaoo9VrYOKuEHnXJiZz5NRUQevsQSB3nYuj3EkR+MtfA0Hck2WM+k9v30PT2Hr0I9ercuWuUP1U85RoixrSh1B77DaaweCsDkzTbgPcYJC988N7rz/MglILBtFWlXu0DrwlBwqS9EfATj4LYU7rR70Rya628bkhMB4sLe9gdJh6pyWEMjGv6ZYBLeixsw0bBq+K0xXL8WerM+73j8SyaQss21YR3RFynzcgNLFQsLbrbc8JtyejdjNopE1DAbfyJOWsug1VOgU5rVaf6QU4P8EQivfHLboBWb1Q87kihHHu83Jmu64FvWVOFdcN3yB1Ny+ZXIoNUGstq+pJ4uhdQ3HHMW64xlhkqQeaimGHAL++CYk9hWJNRk1uB/xUCF0+KYb0ODxk/gPNJXYkaomK+P50VLYtuSSMKGAkQv05uescILhVlXw0N+Rg22AfPtLmlHL4bJxw6WrQsvakBtK9zZHVHCXL240sAuU0U8zdlh0mbcjw54Pf+DDkKjmtKa03acRxyNcevNI4ROkbFKVlHFP685qa5XTPFYxhsRX6eY4Eo5FJNI4MuE74ICPEkMy0zihBqY6GeQfd5Lwj7ACsGurGJvUyvxn39Ciazl3YS7Ktq7T/PoAYbgeZw1WtIHEAHxCSXW0T8Eyt03/YitCzF5nhtsJBtrveiPIxkYPlNC8YEozgSLQtFEeNDazG6T3BnIUIdjmZ3bhyYzWAztHiCu80hc9IeidvbW2LgXndsKMbspyHdquSebblJ6XrYHwT+hbkVjn0p/F72rXAAFyzNJ6/5C7QgdUQjmoazofHeijc5PW3qCl+P+uQ2gGOMLbLJ9ci4pqy8a6WAc+9Tju9ohqd+QRPuYgtATOVRHn5T0A4sRA2jzqVahifF9xOciJIphiHwrIaaaZcnXzyrjKV4Hc/U2/JU5u8nF+JAEceh+ZE87IQY1IoDMvEExak5apbS0bbOhkpJft7GpKy2gliAPeKPxKpB+yXvq0HUTSA35rbViDw4aFHVPd46+eq9a9xPVGXqhapVZbKbdvwTF9vdHnaZkUnw7YVOlVHUNKywNQme6FxYzxJED/ekA5dT5GKx4xeCRlVNwzOlW9nVL2VVuCGzjY01qKYhb0Em5ine/QNAWHCQ25jj8x8X4L0f7Cjx02yM6oJZNmEl9KFn0rj/SeNKfQISMM+X0x7Ft6DyUMXa8RIs6LPRCio+o4s3gi2UIsqCd9Z1aSnEEeEf9i7+NP7OCim8cd9kf7tKBZBW2WJbDmdvGPpQrdbgVM/5+41gPVcwg4whDlKaRympZ6GdY5r6kXd9OD7u0RpVBdTq2N2z76DgW5APfneRZssW5WJbFMzhSaj+ZkaX+GrzFKi/0iI6kKM5XREu57SUzOsMK8IMGVgc6OcWrBe5A7Ye/A+KjRSUZLO4TyZzSpmCXBnwe1e4r0U0q+hg6JUeTk73VjpKepRcyLnMPqLNxNX5Ez06xdqgr7vlPe/rh0kBfYDO3dCCXbhT8jWMLkRoUBD9NuvJ6NhjEe/TXR2TlGzOEeTyvolYDSHCDnpqRXHY4d8Wf6pv+RZRPqXbWdW/5ZcB/IeeGyeM1MgCxJ2B/6mM1F8FAr3yUqaPqFogOZIY1CbjZHz77MQME0tgrAdd/Cwm+tu3OoiHTf8jMtsJ+FnzRoJnCabJbOntxf49IWro0TAG+26jm24aPO98sTsT9A+ZIdxhML3McGTcsWJtlSCeazwnAacwbBOjlO56qTL7Uh3flddO5wJ13F8WHOSK6i+WeF2w9QjUhzJvancCIbpOX7ulaXDosQbkzWncw/Dw+vcz1vSgVqBvK+NdT1DraJK9fW+LnNOL818k5V87VieRTpfNWO3WilWTHMT+UA/8BLjBbrXaUstqvwwblIpHnq2Ck9LIwYoW+GuVqCP1jAJZ5cH3igGKvwpJ+Em/XidqUTxgXmEA4kL7go9lsvYIdzWeyYGlziyhOuI89NAmBXQ+hgFV25UrZSR4hlTkVy5X/h9u6ZKKTG+YXQnmWBDlY2nlRqviVSAtvLloir1nR9P94osAGQfRJ6by377S4Wa+5MoUnGt7DiHR8idiY0AugFqdRYC2wuvudlNY6CnDA1H5DuVK6UvXIoOH5nYEOrGrL4jHcY6ktnGFv9vG6ITMf24BCWaUAMhT/mCS2UuMp2Br3wxk6XFoSr2iyRvCX59IVTZCbyLV208vs7gmTvP/vYmmtjd+yzcNxLJ8AAsQh7QHwTByzOB38irk6ru+VM0BTSiyg5Oj9Wr2f3wBROO3JOztkHsPidEfggIeYrTdx3Az3EDwBzVaf1CwTrKBnnU1Qwy3bYOnFtSrV9ngQ2c2aVjo19WuAbAYeJsTpdFJFTHjdiNcTecEMyOVzQ1ps+Tur/khBDWfmsCAM8AV4JxVZJAC6LPKQBs2zJKWuZSUw7gBedM8HPQT6IDVf4AyFRhOazvKGefGZAI4wPkVXaO47kgGcrlqMmfILt9tt5chwqAFkzbTPpx8h0VdTDAWiQwgg04V+R7tmbAKcaYMpi7owbW4Q51V8Mh0Q94/BfeoIh36s9frke/z//v2Yty7TiqjEuLmhxqjS/Lj7IWpe0BxqJMISnX5dylfHYsE1bWzs8NL/kfC3Gk1y0LWXphhJOntn4QitQbjYLwJA3jqGPwnKkvJXZqc97/oLp5BM+h+Ya3RBu6skEadKLUUIhnoI4Or1HiouKHhdOlieNjylFaXOZ+BS6rFQhy55XmcxXVM6+w79tHxizGZDwmyf55ydbWZw3q9gv13rygUTVvYLDLQpE5qCHoYR8I1qROuqMTnUZuApJ35HP2QG4PfF2RAbpNyUTP4tJxRbz6lo8oNYMmqWE3wtIRzStU1vm1POgfaQpIUT6rDW57YeOR/JENdywgH2NrE6X0riAdoBtyvwuS6EVOHuFVsyitb8+vtvCvwYYSGlKk55MD9a5pPyCZdxFkkuk17EqrJecivFuq1JI8HNOUlrUN5mK8S52BhF50lIcp51xJCcnBXXZBn89eUfPCsi6myZlh8kC0dhgDZsxXxOxnIZBg4glrghltPkZc0fFFq+EmhITqAuLDB0aTUTs/W7pDuynwLe03u1NSomnD08oHB3uBvRRY3oyfGkIwHPnejzcwrcMqH2l9VFBQaYujHLoYCvMnA1sSyGE9mTUCpbhjf3L61gKSCzi2wW6f2OUKgPznwWf6M2r6ArWgM+6ct+0peDI2LPgVcHwhhOEy0pok8T3c9iVEnvHsorqbPJdQZR2U5N2Yd8g2kJA2c/OtfZNUn7T5F6acYHHgyAELDOilW0BSfm7Nyv7Wdfj0lbpE2R3f/fDlXjQjXLvH9/0W8ljvgSh1ZVkQ7WvpBzjLa8sD7jbpSCknnsV5pwOMu5e3kxyPo0tmBrqt9FLMgK46wOFBWTPLEZBf1VuAxNR5zENTjfxSVYMlm0AC+8QK+Ry3/Hn6BG1B1625uM/nyc4PcSAhJ5UYGRxA1bCqGrMHKX4YR678tSv0Oiagvtf9y8dPYmTH855japit2viz6uZNf5X95Cu+q+V7gUal0Y9L+EXxtZfT9+LrZYstFbhp1NjjazvgT3jTerkrWQ5H/Sc8G2LqMM+CpH7YxDqV3lTETXOQPb2OD0cwKu2TrVjaK6ku8DI3ubrnEE/3Atfd5WGq0cL0eakqt7EQTj8XwWOez0GrRQQTZouC4+3OoWQbGYQFnPQ0IaAkcirlWyfmTgzCn8d8YjE+Hl9c6loY4qs/bjexL0bmC7itk6W0fRMfgZwfXG6a4NmKJ+o63yjV1Rd56FWLtmZJhkZkn8gGoTSJRv/yq1FTYFG0nddTSmCL8YFdX7ADwGWWRBXPaPvZ8QnD3qrwFmDo7vTRXEW3Uo5lareZaSnFD+WLFeZy0nPLf6+b2XgxhV1BS6Bm+Zn5OfMHcampDQ5LxgekC6Ea3ZWG9I7MJSS0unhQwBl28qUEa7bQeeP8fl/wfCFOWgURxvlhUE6MDKG0pSecXXYOalh7lOnk1ucHxAiVjy15NmC51K/TD+tfVgCF15lcnwkOGzNyXUOjnhSoCxTziA0TT9Q7/Yr4LzBJ6bEdkrGr3vLmNqvXhRU6pwIEtJ32PygUuWWZeTib5AV/vGtQ7YEz9oSXAYsSv/huMG49le5DwcvrGBFcIhDVU7qV1Vh4ZGeBrzLEtu5Qdwz04/q28g6l6o3SlkUyTF8No7et7tVYP46tL7igAg2/Gqsc+aXfIPP9Ly2PtffLrE24RFy9E6Fmy4icIAcqt8iMw8jF0BD6dC6XpQZMt1GYDCjnc0nZ3mYIuFuFL09JkghrZcL+v3l1vWzKdXUy3v7jo1RzCXXUOlBNQOsm2LvbeXX+BDe7hdR7+Crd5jFlyzx4zJQSe3nWcUbQDvlFRiKvyw9oPAR3xPx9d0yfFtLwULSvixP0o2ueRY220cuweNh2Fqq8qr00HRsBGmwDiaHFxYpIm8YOYz6EFvUYCPUr9E5f2eGm0SVhnZd7ZDUNGh2/nZ8uvcHRDuF4kX70GbdtYpShbte0AhgOLWGZpiFsbGC8pfUK7HTlV6h8XXFT/rmhe0JqldqZxJC6qaTEWnLcfC3/vP8iDPf3NXkaYu5oOv/c5xYBlNJ21GhhMG4z2MwPLL36FYC1v+cYtW5oemJ/izWvuQeIe/X3KNm1sL4UbFa/j+OvJ2ub7gx8vygwd4nAktqLA7QZIoXJsZ/W9ubdoYHZiK6ENu8O8/N1D/FfgOq6HZrQ335c5W0/OM4GDW7aOsJnDaxOneRy6novR3nbteGZuGvdx7vG3AMHOH4igq6W0f9wBtcMqjsr+CLlRfqQTKNrn1lfBlPxjzGfrecWjZp3erlQ37Tnf07zUSKdi19ZfMVo6FcabAPyM5vWW1chUyhrezDzQ8MN9KLj+P6NsKVT7fWUX6VQNXIXJbe4BY4QehvnQIGW6qxDaVdW/ErW2Tq5J1HF54qeuiK+o5mst9rdZ0SCVN9EF186l0EzarkBT1KK/pyZhcx3efYBAzzI00qQx4CtRVht84HwFhVwRgoBJwWfwLwUu53TRP3qMhsXrs+Tn1mInjRdX3HrkX6YU2NZfOEXxEO2RMENvmTicKySwZcOdwHcqpl1fUM94c4fB5dsE2WSkrXt3nUw9b413NE1hPGuVR6/xzd5p2LbYLwZfOiAmTggx8/JKWN9ocdtJW5HqSBTBMXpfwXMO8u6fP2aJ0cMLAYw8HWdqQmXl2/WHGE6PgTvvh41hk9qo9hdoCxxpSiEgmh0UkagKc05+9P8POJsUC3WrB5xB9rfYek31Vhb0BxY5rAbeuE8SLY15Cp/GWb3OAC6gH0RSkV0ZzntpmtZXb+kOjPjG2TuaYEME1lscIaaE8yGFu9yJAFcQQU1UDUVz6Z0VDsbqJDNvOJZkle68DEIybiSLSOC7NrSDbjxujgyORjdcqgdVi697Ib1xgz6Y3HhpZXtEIUncChnZpurfjixvyvwQXxs2xCt9TB0WWDh1gLVNaZZHnkXGh9YlwiwSZi3ky175/zyzY0if9RgDzMJD0unGTo0gx679OzNB8uS31d6ulHQwzBYA8h62Qh+7logHiwWbeW7O3pEgJhUIh9kTefUmyPSEDz3VT24blZhvV7ungaCZ001H4xDL6zVcmiza3NGi2opnHIsPRE3vBFDmM0W4GYbAPsTB1AaRPBykwuU4cWr4NRX2+yjIW16ck49fZmZ1XdLFVLiZIB73RIfdGnLH8MasaAFe7AXzfwLA1G4T8XMoqbarLRlw70yc3p8tih7BZkH5arIp2NhEurZ3l1s47ZRFUO9nRDUq8+QVsCYJWd4Qetb3dgx/jDL+8CGsx5jzSZNmTyMO2IdWU/y2dwLnkVSQmgZ5KwWU9leIxnVAyWfRyMzDdxiabxQGUx5A1xIevKxJ8l6+qVYysHOW3SFUb53JvsUEczqwOezbK8VcYhljEX8N2QJ68QujR57gwugNm3DPmPMrHDOax91wueBteGsq9fg+i87P6H5Atph7Mf37yOiGjZzBCcaI3Tc2PQJis9gmVZkZD1RgYBDiwjrXvUW1CSYU6Lfbc6/gjrR76IgdIA2VRTc9GtQOFWwY5lCCVgM69iK72mdJrh47Cd49wpdLpOdPtxecBNeYeiNmEvZ+vq4D7pQ84g9n9vHJlhsH4y31TeKyu2QpPzIpx2/dz8UisTXyMsmVuojIwnZCJXaws1HU9Ji6ph1K4dIcKBAzauVp5IkT9EM83uKjlWk9ckOt15MPATq7L9bTYOu2dTUYgbp2zOIPcoUC/2YdJ+eB77Fdcr42OKiY5NwldZLEhl1cT1gQvks75QVH7h+jzU8GiDCy4qXEL0N8huVoCIAp53+5Cv0XQ4OkvhlKFN8LuAm7jvYLPZDTrjSG1QCr/UqQE65F38r4qeKSI3E8pnpuM8fNOgLAfd/YC7X/twHd71lSuSVvX53wrdMxfMNl1+DkEM8Drf5TVYkqP6SSkpUz3HZ4Ux8El2YxDMeznHjO1A5J5D4IrGHtmqRUfI+p4exgOz9lQvAbZ0ziVhnwFFESVLpekzpdAbEM1dSBxP0Q7p6l14TpXdHPEnFBJmwj1GBdXW/ApO+dyQ0s3csnVIzik4kg/JIoah6UpErfKl/aWE0roh/zCmabCQOjgOoshWL50nQJ4d4P+gSoALBg6LMgJabuEfGgVTh5HeSlbE0C6r8lLgOpxj+6PiPzzd+jG+Kb2f4pcOpsMjrTRKEWQJxzGQNbptljJXKFN1M6wrz6sTCWWLBo9TRsGxh6c5Nz1W+KUJMvuxsIe0qlnJkcSnaCQLkpmKt+n1QzE4+6EWVvKrp8XA8OmnZtTO1AyplnIyzJdNrnfBT7vybjuTVZL4nYXN7aKaKhQurRvN7/RlH3agALKst7EW4HovDPc2745W7q81VWCB+t9srXVLcFcd1PcLlwJLDGmyZw7LLKSRbFJWWXGOkqwi3fqsduJ/0XeAROJ+DO8nqA6afdF/qX9bNPKaTZpp6txroaxX8I1pIOZRixS+11kgsQOekVBRcm5d85+jeDaP0fdSWLnXsCqSXcBa1tupQfjk+qRkcd7R6UadJ1FhkNzT25Il63pbQLJWVuRR+DkqAcCQebj6JZV+JbIg4GNn5LvzgEe9S5TsXQ7eG8byF8rLLALOEIYtNdXOBnUyXxa3kHM+slsoneAg5kMVrgN1a9dvpnQfqFrsDduteCyu9H7vSSbiKQT4jdwRPeH5bkkCX1XDiXbs0dO0sRLWHvAK1ommGc4pabNv8vWEq6rc12T0F/4+T88whGoNUeqoCwacKFuyROcgXx4gSFM8dW8nZnAk6OwE9L/LQb2VK5ED7cQGXCguvlm3END0xs+lFYP13mSnuUVWz0AKZ/vseg92SJKHn7wSLBq/bdLjMM8C2pgcYCf0UgUBA0kkN4IJFG41c9U5yLz1BJyikfFsDPahknc9VxIIp0eMKMfK+l1nKLXjLHu9v0OzvhlIDbVySrXWXJKXRn2xXZct557Ol7XbBMrWgUUWTxfSXwo/VS2zVMm7yx5B8VP21JmNjy/aBbbCgvfuoojop0nwOz5t++imGU2Sg3msHuWU1arKVbJ9mm18qHRdVJIaW940cvnQ8govi5rcCfKEAs7nWgb0gIpC4mwt+UYzI2G1ZAiCsel8vmTSVJJ9ChC2/uZRVRnjil/4eD3Abj8Px4LNR8Pf8m0/GIvN4FzrGJG2cvI95gZciriVMwpLDrWOaBweKDuFCQiNHS5iZC+PAmciO3gTujPCRj3gZvnMicWzKTTOESuOjo6zE6siJFgMQWckLw+2DXIrh791cNNmF/suaSgj7kfE7h+JniKv6WRoos1VnkpLITQFHFaQ0M5Jy+XnDaUzwA/1Q7mUkFyAAv3EWfmXef3x0cinHbyJ5O0tmT2ZLVBpoWrbuW1GNQ/SQ4nee6NMman0vyEMC8ITMKD7wIm+4/GwzR4B+yKY4uVVkAEQl5M5sS/Sr2hzBlMqissM87V5SImYdjXLVaBeKWW2VvhWYo/KLrvSbjytTEiWFQZH3iBsOgWnbwdVbxfwvNoq9GgAaCqCZ2dCc4+EmDqoXM4/3FvYpJTM2oJkebAL2lfHFJyKlI34pdG7ZAIVU24FKBK0B34DDKKaadFquPeqnI+XCMCbJjuUSkCIxvmYBh2T1uQavvnuM+zJqukSGAuliMcpFIYXWY6ICmVw/XInb2v8Kg8da1Ridz8LGrUPV6TBqAe2qzsKqhPT+XZ7H5Sa/okLQiaRPk1J+/KI4DWbldc8qQuuyMx+6aT3jaeNVTUp4fIDU/OTNyYzXH2XUOKqn6CDUh9v5iP8pt3ndk+9ZnmGcwzD0+Yxh/LYK7DlqqUcfE5xyiXgN9mg0TbRvu8z6U4t4VJejtv8wKA5Uf8Gd3nGl22/VE6Tv1ihrZtoxrI7VA8e7d1ADKqNKGYIBAxV5fQ1bpSi3kSz6XW9lvRc3czO5sUCT1ZxPowsAKqA2yU5GS3SsZS6US3/mDqrVXz+9d2dwmR6cKNXhhVj634lAHX0PQG5B5JPWwDqzNJsjY9F2z9xSdI+FJlcv3wiWMBNNjqy4h8G7eloVQ2BgqQ5C9qWIeUT56l9v39A7brD8r2Ibcp7KwVU5aqvkWRYFaDK1t58vNMdN3dDFuuQpi4hbUJ2kePQChNkgX8/zHaRXUhLseJ9SUo2uq0QeaZFjGWFJLK5qcCjBeU6SOeItrXKE4yl9A73/70hXTmAvqX0gsvjukV7pn2mspsCpjXEO1fgtI1OFyo5+4uMkYxFW1UeSQCf7ewRy1CLDulkYeg57mhat0TfQfZIiiirS8sZw75NJahIFxhrp7hcaefnlfX/cPIDGwgjW2J2CeV1wKYT+/0Hcm4gBeySawTt0egr5ZPCnX3Xf0448loOact2aW5d8F1PGj2UyjBJtkQfkstseyjX0VBApiOssOWLtKLGCizQU7I/rIUO+4rYvMd0GNfyXt3mIXPjOHiBa1pSSFQQAkfacrNkpHRPc0OR44+vPUCK+pLFe+BAcHDEV3cTSX6ofqaQCn2DrXreosCEZ/099a/Hpm9KPKRru2/42ZtmMbByVs5x9sZl198KIr1RbcWkdEbutrdh7vENjN7RK9O26aCxFaGJIPwmG6jy+aQHjGpZ+pUmAK85v/pBM9BLuh1X4k3jFhUhF4PHH/1aH0+nZ6+oNTalYKmLavd5JYhI4gKMIC8QUlApS+eTYALlB/Ps6PZF2XdORqZ8kQiMRzUssUdW8yQ6OtBSl+iJP85hD8WiB7fchtTBCzt7uL4VpzBYmONWQ0f4j6CxEkIgFZhsmw3njWcKttCGj8SnX+G9RQ+6t8Am8F49RvOZlD6TeZn//Fxxhb5LRKf7xqE/VWgA0Rq5oyIfdGOtw91kRbe0nWUbTZ7M7FULPQMDYCmMNSqpvaBlKnmvnfWDG5A5sTlwmxuv6KJ13YE+8d9mDBzCrlS6jPVIpcUsFsFAbRpsJmx+BVtBoVa8I1WgyNS1EKAyAdexEhJ0j4RLqrLDaRlzDgfXjHwsATbAM8w4/uYyGXHxt/0NtdR943XXPeZf9SYOxOAUG1R96vGUDgOX0czo2ctz0PVCDwPQyUckdd4aWLmJjFFFLxs+nzGmOqEuOcH6sKk0OO9bhgI0C8VhVU+j17pEI2QudJPuqBUbpjCXRH0mn1n4rxt5fSu9q94ypZflj8o5Pi5PuedJCNyIejstZMyfPxuP074naPehSyigObRlDyr77YRpMltoag9UIPS44UDKt0EtCUBfa7jfPmNqY6e4T4i5lpF3PwPIIxOvMlD8GdjH+uCJGHFSAvsx/atctaV0CuKlfANMq3fkcQPgyxbmivmA+glJ4ghhvonAGTN4nSzFukEY4g/6fEio8oNrf38NMY98JGwjDzvvi47CbxYKbVI/LVmTdbaQD57WEfwIL0zbIF306/8Qh9QIs1pamtikwBUT3NtUtFrNAraRkj8gNxmKkbbMH9H3i3lJl+v8wrU7BIb3Pf2+DfZy6kCfKER7HyBThoUvBMk2lbiOCflC/47rZUx8mAglpLUWbkxfne1GtNMjxnalffjax2zq1rZTsQ5m643yjvYuriLz2SqTi/PJQtud0y288I9Ls+yB8VTMU5/B+AzXXjhJBp5kRpl2OAqHqQlS4MAyHJi+un0V4WQHSdaW0QjjcepVh8U2HNF7UNe44ya4H3cT5nKeA5a3z1rHiwKyKTGhXpLQmWQ2vyGFssTDjNZ0nfSZG7E0cpnxgrApS8FO6ct/F9JnOsnlQIdwMqWu7zuePo1cSJkrQZJUy4/jhS/fWLzbxLd/9iNHu93GgBt29Vp6HwK9m1wlmXF+xW7EyqFw7e/iWVSbioQSF3dnBORDXnm9BXnplLRPIYXQfYxWy2pRjYHocHYWEOV1U3hlAPYQYJIcW2BYedjckY5XpTJoeNqj1Kiyw6wieAh0j4KBpi15mJusMlsPXA2YI69XFjH8j3Pu8aRqdiE/2mp6Trx4CB6A8T5lfLV5ZAT/pUwWZ51UWpEYmgxEG1uYUhdAc28uYLNo2gg2dML/Fja9J+y8HSRroOjZLVWNoKIJRBEndrtQcZN7Ff7tU26h/51Rn+d/U9nO3lyDPr04/H4XlI/7d8Z6LOkhJBJ8g88uQkvbTHn2sVdK91l+x+4NE/rk+l0pfB2YJr3q03vBHnyOTfyqvLjMFMRoI4h9pMJSFNu2rJ9bRgYPPYY4Z+x1v1w56nBWDDnuRByoeXe4vD429SnYvvU0TaSOjaxqKbZ7E1mf2gRogxSPU0F8m1yM5j5RrO1iwOS934SJYFfddMJEhs+S5l5qr+Fv9b1t7Smv79ZF+SFkV+yGxVPvmDcfqmdZg2aGJ+QLrl06DlBKrgvUNUGSjh7gj2bo9EYxnIJQIb633akVzsLAB0x92AhpW7bxYkfqsDK+qgUfq8vfK6EViENSfDx8nuS+U+HdTRal8A9t6gcl2DnDuX4xc1PnxwmNFAP/3Jj3SsgBCxJAaaPIPst30qcDLq22WDBhttDdhVgpG3fLPXevE5zk7yfTeJFoyt2K89MoWyJU7/JFYmyCPC4BCGl+VDTYCti0BYvTpxMrHqkXlLvaWxlHxEN0YFE9pCX5/qQ6OcgK49yD3trC2e7+IcCoG4ezlZL1TCZpCEp2+5XkVmYfxI5Gww/F8brdtVlS05DkVTjd7fnv0nVRsQw2bpRr72B2Sq6FEatlnqroyJTVcTdBsV+mZ4bxK/pEV+4OlG6KQl3Abioo99lnIwldi8ms50ZEs7zvrPRoa1s5b9LmjS4vo+nRJPtlVF7w0dBtTWpy0SUjfy/JdHzr0TxVlD0uJvTLnm60WS1e2P9k+Ni6HV6d5NG8/HrWRkQMRALf6wEzSGOTAv/tmmDtZUjgcrrmsE9ieQdBs4fHUQojhLqJIcoY6ao+HB8FfN0wXq+hCn6yJCsquLztH+w6AGhORaKpWE5GR2/7WDAXXOOCeYInL9mqobRIbmzhbLgfLVCSE46/gKXYlGJ9kXffg8A6y2D9yPUVsgMcUk/4ze0E2FN47hMTMuO5hsdRSUtjhrSB8Nbe4L4tXwHRmEW5OL2d9Yt2FqHYOXLRbLVPkNzEsLCV1Y3/yDdL/gSUWC9+UaRq8OGJc7G54oI4U0EKL18M0l4FumMUkIrRbRBHG0vBeYk2KCAgWMd5pwPdk7jafU5ozTqsAEn74yRNoWpXM7G3UmJjvluhBxhmCNfZL9MnfJoS5uVOx9TRps/b0V8I2bLCBii6egrpshJLTbML1zBcQ70AvkXGmrw4cDoS0CGUG6IyKJhCadujZq02rUoP1QU6LGWb77SAV2vnLlDXLRPNZGPwiXqrlaQc2dcpwaaA6dBlOerCeXCH9mrdwmDCvFN6QbMegi7aQ272Rib/WUJGlNzEy5LfiwQsPkXi0+j8ZfMMAdIpcDY/ALnh6IlJWW9UOZV3qQzZgC5dsmmdCRVckxkAIh4cRK2S3hEXMVnKU9Pcylt+7TJjz8kuDRkzp78c0TQmc6nuV1Av1sTN0YV/JhX0pWbZ/CPa6nGMJ37uo6p1WCg9nvAe6DpqdGNnqdrxGEIOzNhJTL2Hl3hOVdQ317BuhdEevNBSurDCuNZvccwbNd9HOUsMVeSA+GvtUpFjlUfmaua3whPRp3j6Kxepf0dmwbB4XQUnEhhnhQ1ChypPlysnvXrhmdMy1YgsrlbLnO5idRw9t1BnMlHEPGYHOUVOyv4J+EYSJLIifBA722pcG72HEmlWtaRQjj13u4Xi8L5pQCAjLNIojYeFNIkAIrYp3Y7Op+Y63LiXC/Xs9ZmkWgRDgRqNkopQ9cUqZeuPXczA0a8wf8iJ2Ko/hsX/hdazwNoLMjQedPdud3RATuXNKgO59z285JscfrCLle9DtNfqH7obZ0bqUPGm0uqQix65RD+wybgBrLfh6pEwdo1ZVxMcV5Hgk/9Y1Vnk0FlhsQAy86GcN4mnm2uizzi1yk+67Jy882v2932wqEjX8cp+UPl/dKm6IzZgtniNMK5JWPayPwB7abdSUoZU0IzaxOIobdttVDvxEVCjpwTLMTiHVthMw4MSv+PvrdcMzLghZdNn4GXTR1nAlqkyESflVk07jznsVkcjBQFOKAg+gbjVYHS52lumfp+I6XFqthSJD3HkUqJBvmUo5QMrIWMaI73PTjnh/y/REu+eZprSsXGvpf3gK3FAioU96GNymr/awuhQZrXPS43jegHiLEjvQpSzVocYe1J6cnU7vKg+utdsNazN86I0rNZ+DAQQ9sd3JCB2XllnQ4UvOM7UiBl3TidL1NMZWz/q1mFtJLizK0BkNDbqzkLudyhtkHLEC5B2mS9mTDf4epwI5khhB1uXmb3yt5E8iBfEuAzwXB1iYlx9DUEBXMxW3a5IaVA09TUuTRGrvJXEqkNElhhJOvu/iYOALXF6qwqEXnEMS1fR04VIAIC9nBCfEOD0n2Ryye/Mi4WpvlQ2cSH/uMS4jSvzzAx8l/EbnSZF/oPqwcch0O+BH2qE1cbKCucj/CXYqJphemhqgaFxPnMSrWCblukoHkcWHhixoMPcc+5VTnAuZ4J1E/T7kbnP9FABSgFd3fmHEJzCRjmd1XYlcdGUjHy32YiS9Gj/VvZX8G2G67cedaWxtiI0Eaobhxnx6R6XF6330XT+PupYwiPkAKdBmLDrt6lQiyDSloQes+oMy2YWG405SP6kqMwWlXrcPRHRSDz5eIMz6dkmO32aWCBE+dQIL7BpvOFQfPvH7g71Gzd3G5PHMTJCoL67eiXL/Q48nJzy3ddBPrCCbhNyUGu0qBEzSe3y+oiPS8cwbnIr6jXPbmt6CSyeAUCb5qTk5RUF8QyshCtJTEvyyr571ua32cVMD+BR3DBZN2pbGAImltwC5DtyepCrNvyLdsks0ikzrGvvsJAqlILUJegVH50iMLZPKRP2syWDglYJ/NuuylgNG6A3Y9qIStDRK1iAYMovJFsLs/dFBeyLdxTVULkhrGPdAIvdC/xGs5SofSWLNh3Faez3BwViKoVIG3eh+RGei3VY99AzvDlOUDwcCLy4ZSLqBKKJOEfhYUaS5fDENvwW01wPWyIzO1iEBKZmNLIMuIWFUEBx2k/xRMqGSoJWVeQ4hUrYOvWuGHrnIWJiYl67snM17g72I3yUx8M78uOPb5cG7hZ/+oeaxVGEg1DazsDHiPib9jQR3FAREP/C0r5YecFAWCsleocnRz4AyS9JeWFQ3eYIYNiA6isoXGafjsDJ95vo6myeIWtrsxwdHWMLZ6DV0h+97nhBOLvJ4FuOw2XviKzs5vv6UMx8E53LeM1o9BlMa0IxU1EirGZF8XFHZcGmf2Yj7mUoF8NAQiCJwnHdoUAHjtqHv3icjOTDbY9EAkvZHQT7HkYl0dine/qJUH9FZK1LbhecOxyDKyeP7ZUghq7Mhr2U3LXJvvd0/YxxjIHwNiOsg5WtAlDgjMM3BJZnXxiRs4pzKPr+K7S+U/yq/uRLDHhdFoAejlhes0MjVI9MFqMlRrJRiXXpzb+3emHlFTZNrAefoVrUzMwbjH0artLuM2l188OFSDlf55eK7v4dBJRO5TdoV92HDRYc/5AkGTFdc/4M95fqQoZofii+Qa5az45836QJWuM1WLGDpdpHs/shtSzm+mX/BXSxY2aM6/lzxrkKDN+ESzPxb24VZlZIY9AlkvBX3rYkj//6Y069kAomOfvE7VL7IjUWVASaIyiWnfZA/Sbxbz/bz6KZMnrvIw66iQLCOoYq4aAIE4pQKZAN39LEAuJSjB0e36RBP9+hJI88QdhUeJnuW7sLM7MBW2oWFsMrAbs/Jj39lQZkjAovudTT+siKmHsdnM5sZKus2wfMWHqHw2KDWnHA3EIvtwDy+bAfd9COY6gntRYycT3ZxhntCN8g4l7GcrcKVUFYKGKY2UY42WrEpi7WihO6lXgPj5537vTx1OQoYjhybK0eXGwokLGyazTEK5bVcwLVJE+KAhyfiTXDPxSBlg8jXd8YVOz65H4KXAR7i1jGhHYBz4OC1R066ElqKM9d95CFi0vOzG1EYBOi08w+iZ1kHePt036ReF4BNb7bTDzKg7V0QfdcJXrW4KeeyXrYk3qEtfQfy1rqquNBN32awRdN6iiSaYRpAZackRsZAME8LmHuddYMxn41SPm/ZoLXvX7gklEgCmroQXx9LjGXF62F70kJ1nUB04c10wFHZLM8fRdPoteLlYUNfdGaMC1tR2ys+78H6FjbZcJzoMNfniFIctt1wDqVcDC5oLfJ/CyJt8fVr9WtEAFUBVTf3Y2xT8/DwIb3he9ULsuSOG8PL8AbDxoiA5YIL3dfM1wuMP7ii3mti4O2irE/hKgU7WsrAqQsqgYn3roFgPNj9uV4rU7KUpPWV4W0S/Yf9w1e13GUjWWHd1QRydoM5sCYGSCeI6r/JRYuImnf1noB9PFFAJxI4x152eGe0nyyzby+QrZB7KpJD79XcIlDFd1NNmCZ6IiS2TZxvmTOX+Fw9vhLvUvzHFqNGWGTSr6DyjE2oMcJ1duQsiXQ0AuVwTcCWSb00yfY0IoAOFOwypZ17BGG19qb+CcREMfLC5SNBaJP2vIxQu0WawAXcXCktIB42j3Nb0v1C6BQkSvEBVZfGnZf4gWhZxOdw1EOyMkfpjHjGal9Bid/OZ+kYQm2A4z70RPMNT9za8ksaYhtILyndrUQHbqwW3c7YU8tU+Y3hzTW6FJf53uJ9UEfOiD+94YymkzyCyBOgnpBQM7hrljopYKbSPNX5qhlQaMuIcYc7IqJOgve1J+sCk2p6kFsJ/kPZQrfypRUzn7sk41OFCLoiM9yVX+oJLvvcbS+ejKZru6sVzDnaJOn1TijD1npi1lVxQ3jFxpGKGLScKPKH5UpyxQOQXMFQQUX76ztLxNxTan5ypeqlFiGWE/ZA2xcsIvCPC7dLBmcbPf3FVg6Fu0PooxJF/eZgkAJfiCxgcx6M+SQ4CnXd9RdmCXZutSJq2I98vXzTuxWsa4lLbzOmzTEf5cFHcczyoC5LfAh2GqYyckGEKwvUa0gnSMiCN0gC7hJFyX6pNNcXwQWsmvZro88/3I+iefTBrIDV4IzuMWX5RGjH567piLQyNJYeqQxnNE7libYeLuFgqWt1fqTl2KhM8W4sqQv7wmEf+GWTu0Y8BTd+Xgcm/G8g8jZDIbo2VwTnPLpiy03S+GiwEm853/jVlHsZOSYIKsOS6OcLGWJ7P+SKkoQM5blvLFDfPO75P98tY/6SgJ4/aL39rMoD4G1BfdSJm3WxPPXK1MhZ8FDj9GVwYDLpo13GjuYoipjvzBjB5tPjbWVmu+Op9030OjHpV5SaPLNjlZlhLYTKZNMm3MM0N0xOv7cEbAbyxf26MyyC+CTXj3RBng7q9Aaygu7At1g0qCPR7OG1C+dVZ3LY6wQWfZoWC71wDWJ0U1sYA66RGjvENNgtIRvzbyVWvRAmmiH8MmsfF3QPey5uhMBeL9DXuS2/U0cEVuqe2ZoZ+y6Z+q0Bu/OXdKvv8TctRMgl25kM/7OwqeyjCCHPy/3+2gF1O8jDuO0XbHK3gPCb843hdt6PD37vClXyix9rNvgXv27oUgw+/DisesijA/LnxBQ6wcWqkvLqZ6FNmpD0ITJAdDax4aiVHWyfzab08brZ6dsKA9KcPjiq9m3Zdv3GRCMxASVEqdx5liGHMlkm3HgfNRg+gsUgOvGe+1XcyaLPSeFg79O8SEAHw+76puOrF4eOpFX5LOSX7ocil9adQKYrN/rn87ypbhB3IV+1I4bvke9I0yS3qh3lEXme1hyTDkPFnmSARe19GD8J821g6HL8qIEF56JB8tSV4RLgYs2eCBYQ+muQiTgr12jj20kUb9ShaTt9dVdc6W7m6sTAmifdfrxemOb0gePX/Zotb1g1l142U/GTqZkbIPmuNkkCnY0HSf8iCKkncmqDMIPiao2389om7xe5SzVvbST/O2jejnu7FcZ0URDN7xTPDG93dya23YBGXSVmVMf4PRca+Sxfs4XlxFv7gJmsLHzQaJF808jVOKEO+mVgFkSx1cx/0thfhxmTeSvdLzUbc9cfHYT99LV4ETm1S8LPtiTFPHO2itUwX2ZJC938Hty3vEJcoIHQmtj4qk5LEQ13WJ1uSRZdnj2KOMRFLpQ6eU7XcbWdh0ueIuN2rrfSSuZMHj4NQ2DdXZO4GUZZlnWmQJ580ykakQMZkptCzVtRdCu6V0CHjs0lsmGn2FzD/IkX0OnaM/Icsw8bAWHQliS0yjix5ClqHmNDGzN3bTvcU1FAtIWUd5C8ghTkURegAHbtnpTQZsbiUBUicXduAFWxMweqdm7wix4/0kC4ph3ElQpEKcak/IhyDtgHaqXLntNhKfHpvBamBR6fgNkD2wuQhli4yUjw/YTFRa7HwON3tL09pHjRgh2GaGFXqzBTDFEz3h3mVV9VzJ1MZhqygztwx3TD2A4zgebCRF38Ikz2gxy4QasF1MtZL92+0C+Z1i4KtrZeil2bAOueoSnk/XCjmBRStJ9RbWDPMwzT5mtJfOaG3bsEEeZYFRea69f3Ft2vJnkDb/kwYLZSq+8xkdgeylnFKnEWqrEG7kOplUfQuzhgw3XJjYO4AUcci3q4N1A2OGneVYPDY+5KF47BSjtOuPMtANrcF6taeCNlz8EJ0yrnRwzOsRdcpFQ1pB2qg0uFUHY7qily68KN2lGaVGPXl5XWSXXq0nZN/6aNBwpBRwlAx2lUFw/O0BRM7mia1CVN4xsrV9He4OwveCsxrv7zyR0NLH4pve9WnmAgL77cDUNWjl3Y9CBo/pI1WfSjfsT32ebHPdXZLBrrQD5D9EjbMbyWjMAuOA3/giaW5kbW6IJ58fis1wTed15l4FmZPf2qdYPlRXDa4BcFuWqROPM7rFwPkBV+YVyLJPtFxCJag83LQAzbifHbXZoxF/AqsZhYjWP6hJ/4jVaePHgxdBGXoDfOeRWS2JiGcKeMfUilyPvGG9J4Sg/9VKw+mB031of1I3E6uFVT8n22g52M6eQ89UbuNxMzOhUV2zHNfDzaIofISoGgLU/jM2qYklF1cCgigfSjfrTIJB0BWquKv88d6li3f7U6eFUqw39u3JACDnivUZmgWrxCE46O0bffOoJ8lV4oFrDtX/v5cbynGI3USrxITCq5qmZ8ZQRrVa2TYa0h8n08dFJj/lcaZPGBYgY10jmueLa+j/rnwq4NaA2LOtTfSsWi1jEvVcHuyOu5WvRf6nwenZet7A9FRaFAe99tHT7aQZMZ7hvT/P73JVRkchXYjSIYglYqFc7BPyZgQgZ3UcdEyn4X3XIB/+29uODi2oNjdhsgkcRF2kOvjLAczVyJvnpKR8cHlsLt3ujTPwJg2GvL4i7LxM1qy+4hDfwGDk8wHpeR6+oXlR37pAV1Lmkb3kor2PwfDBkH/TglGOjEl0cqP61S03CTcw6yvy4BBRjGiRQw9OKZ+ZcntNFaHfD5zWofjV6lDB3nd++9rs/Ie7Sj3F58C3XVSfEDBqYQYXNovybRi6ZchLTKiGoQyJ/ohFQQdIypae9XMxiaIg/gDLidVDT1hY1Nr7gbJJAHsqsrCa/NECod3VN2BFIfg512lHJ5naL8Fw7PENcOWwh+DzVzxKFKFbM13xeYmvch2+e5XEL/zI6NOqcXMXW7q+MbbVCBVeHRgC5YnynQK8kWTL8iTVj0bk2jwoG2ulWwu8WbOkB3y3nummPS46PV6s5dkcGBmnt9g6omThSa6bn+ebdlU9wrjGm2QmS6/yGTFWrrC2D7Y1QpKzXNYNHGEhbCh25UDS9hJWseaZCAZf5VtjjWJcRjbe3a2ZUS8jd8hNuS+BhwDmaf1TuPD5/m/rtIswOshlNiBZTRjv1f1rRtGU42wOVa8ih8Ef7agbIh591WltwKD6wi3DY3HaB9r3QAGkGi4f/inEz8D10qdh7YrWaTdK0+IaHCj0TCa5Y0yK5DFjlc8S0w/ctXiR2JYhiWxihJRawZEDkmeD9fHxHcwjnlWD6EUXQK+ypQoEFIqkyfUfBNTdASEgAzNwiAcCu8HEwNjrmu3j8JkNepV1DHyhp3PSCIskzrKCOVJ6kC7eczqP0ICJ+ZyNi89Y/UjGHLCI3PH9NheRVk31DThLoFgwkDGG290t1GBFQiaJy/RWSavUNh+p1UI/acjFiurZinrEW27rCEPerGCiV7lg7s+emjwqvk22jBJMseCw+cUsdNt22uRZFE4Lb4+7VdmIAB2NqByZxVO2yi2od2Cz3IvwnMgPbuvGHGzx0wSuyas1kvMUM6ePpCsVp8XAQ0v8FAAHCRJ+k4lQ5g92zKRFnn5KrlNrtQ6+w9ZIS8vBvD+A0p+ynVcmgqQo8h+JUB2jwFmGbit+pDOReyqeKKturcq5YczN2pE8/NV83j1Jo6PhdoadXte350EQeoWLsFyTiRilN1c64vXO1v/cXXgexpHsu2kb3OQF6jaMtw4JNWrw0e/sZd8jJDTWMVhRorETK6LlZQ+rcQYh7vUeAvxpbURZSzdSltWz/+ZzReiF3KGNU+Hu/dLFQtCBqQhirQXSc+XQrCrtZMrxrtTlIUKh2dG3av1NiDjXoxWBdPEbjNh1BhGdHnWgiJF0Eo/t1w714pp28yYAo4OO1Hftrbfpj44KNh/KimKNZ3zCJinCY7ujEPndlFLJ+KL22RZLRuv3mue8CmL+RXUntnDZq4xft4DnKq8TEeFjtKMAYJbFqXgAVx8DdkJhF9siK3al8QMaGt6IU6i4XiAmrngthLa+Jru2fE+BBHZ9ntto7OxZkPH9SQJHXI1z2RV9vcdQeoeNi2qTVPLtYGK9hNgkNcsse236A//TRy+X+Vj0JH+PNyHLiv1keEQLt5cwqyU4od2nvsLeEkMYE9TeAFbzPhq4lmZJ17ou18Uby9SZbGM+nrpAzpL2zu5FTYW5SkKDt5u4BqnZfdNYA65/Jq0S8llXXI9mDtX7fCqnYi1qhwme+N+cTMyukNhCmfnT79PBQiW4wbVrNTqCzuu1O34yzOBtMYBCT1agxugntRQglB3hU7HzPDMEY0JI+MBv6rUA3NGS8IppbiAr1JXSvG2Bi3OoHFsSSgn4NEudLSx47s/EMhLACesLrFTJnVLRRwSEuLd8GkHfS6ibs03Py43CDNC59p5tjSaGDmrBPGRU03EsmypG3ODAWsCIeQldt9pY7OZvVdTTA36qDx6/9oOn7MVKGOmnJyNW+vpodHivNCUxfbJKFuSSlRgIjgT7EkJdhs+4l+/AJ1PQ3bfQ7ExEXZjBDQYrKjnK1zbk0K0bENDXsrajMPuesv7ISxmaPAdEFsxbLkLVv8jYzCeLNSQMR+uZyspKu4OQF4mFMny4OLRUYenzIWQ2N2kNqDNt0iy1xV1HcZiEYDlhkPLfFELQNIrXpMiS4d5UXKlrOFcT3gt8//Ma5VMFfk48u9DJPvjus+B04bhF0oYqOMNK0mfXJ3p/r9+50y02nDrVP4c/4JDTNO/1vvHKx1XymWx0PAMj3D89vmbv8cCEI4fqULWVBXDui2KDxvLABxGBl3WOttamFRn2K51Cy9Pw3gP3CCbwnc1Ku1tU8RUbrAuO4SId8SmjSaDsHo6NkV+WwtioPd7mjkJxfOdv/q61+GZQc/DMvrMGKyPlinxvC5uu2nBdqc+QSwuuw+GTnNFpS4HcIz7d0qPiSwPAt0Q/hlfdR6n6iYmyGPsyjASkCRU00SRw13NGIKAG0rpnVFg2PMjoskBClOjF836KAuq1hh9mp1ArXjJt3gBhay8ugJ+YhU4AsMwcOt9Rt18qQqiYeArCHaHUaH9TBl66m6gI5Rbyx/eMpMQliwTw2ftKgMvsDcjTH4W9oRLLhuV3f5z4/SpKDdB2xFwyn/32Y8BSevte5crGgjL9tuCiDPRDVjyaGkSkIPvSIr8aBGA4E+q2EhtAxyktqn2O78JMFeT2QnCWKEp8I9AvGSIrh/D0u+/qszoFtxtXEtwbPQi7b5hUW+RlsTJUwSK/r/9gSibCrj7ALd7Ik+/phuNvspL2/5IE5mjiLx6JO8+eAp1lAj0webz0oh5q1zoJyyU0H0n4Dv/Lh7jBBAAgVccj6RtqJlG+2yTKZXhJpFy9ulghpyEv+nHcCosC3npskcM7B2ui6gOlz0IA5nDu4rEeM1gNYRvTVuw5zmumLWi97+PL+nWNdPGbIbDaryZ8Dcs18vCo4MqkjaHR2AOTQHuaVFKvwSTy6V/JNMJMyvOJ0fkTOfCwN2lxqTHUWOoQp+6NWE54DJzt4vU03mlMfGRyFYwuTbzMrNN58sFE26HenMC7ZMUFMSqCtdJbwouAuHNLYyvJ1d7OphQr/xd2rXBj6xk+yzdDb+x+J/Fgz7iKhiULo0oU1POY2Iuv6fPEzbNvmy+ZGJGr3W+imFEa6Pyz3vUIwcUcltxs/CJhb0Ks1tKD30lKOdW2isBBH5RyQx9oavlLuO57zAAFXlRBeu8T3LCCH8GWjJFsxCkS1txOcR4QdlvhmhWk0CcKGUQZr4EynmTzCD2iGK37F4zTKUxP/570bfls20pxs1G/qrvYcOC6A2vfnEqodvda8C7NTCyVdoTkPt15ujPMRm+Wxms2Iva+O7AcypJrA/G74dBu1fqOjsObJXep79I+SVpZTY9VZNPKGDelKPX83965NvcktHTWyarQgt3e4f6ipBKRatJiNe9+l4/qk/ZjPG/dbZEyiM6cEXiOGZ3cj650DySZx2f9PPer57ymaVDONJ7Qr5Pellg6JsWHjpDk2mBVMkKLSLPUHapNU/Y3f9MTJbKRLsO/+mIbrAggs+kOsL718HkRfdFs3o5z7nVJ7qemNPqMhR1+HYPQYuK3jTxRL6DasEtCthMIyeO2Jj35LShcWmiy55UnCJh76zQ3OYoy94wN9Ph9mbgmcAA+R584cffVaDlJprKCYenNBGyca2+NXD78doLoF5ExUwvSiXEUBDn2RstEZLp11T9UEKXiu4rjLWndzBYtrfYVoVdBqqlzH6J8UrvsLw9fhJJ2O6xAtCoreKVUZ6w/62My524mxRdqUD5TG/EOHhXMRrXyM8IQzEHxChXOmTGIlZcD45uqj4j36AhW5c1OJu8v8nr5XoVlnGqkGG/OPa7MUaKN+KAZ3mg0F3MXIsUyjw76rN+hMPLr8JZgkpjI2bx+1+E4vlBw93xtDoNvGfLcSx1SM5pnsHqCoXEMOrZ7hCnojSIHeQIExMB0ktGT9FrUdTTmZWLcOxhLTXvrRw+l7DGDBTOpjgGE8acUm2ln7SCjFj5LKYhdzLtiyhvaSeEbRDp24l3XNl2DNGltWCcpWzb0vQU/5gpOUSuJlE83tkCJtDI3kiSRt0wJw6VzfoX11GxSc0QhcWs8HEq9WJyTj8btspjQYw+iXF4kPg0mkltj9waYmiMltkUr7CtEB11sLM71p7cq80MJBpT1olbc7JopUGUTTzG5Suq5No95XbeckzkHkSeQV4jKpwY5Cf8KclWjJhufTvMVEXNe2z+g6YUD8ulWUtCjtRNYYxyyzhJ/1rHIJ3cSHyu3qezYl+l+8XYl2S5w0U0wvvESes+HjWAXZuqfapqRcxIOYml0LTKtX5nQ9lcNoz/xWHacyUij7EuSKtrk5G1sF5BKYu1moq96HCj9925NL7PiT846ypLaPcrxzpsPmMB6InRcx5zXbX56GKyNAn6XqfmDteupmuN+zHYbDY4rkxC65QifafZE2gJAcJw87Z/Ee7LWcXcR3hTaXrogH5WJ1qHdppFhVTfLIhUk8ob/c32x+71cGo3rKOxvbk5UMX9vE1W859F5XHocqFzZBv0G0dMnOq8QFtlhrFJJQIRhhhcjT3Mb5Ylwi9abX7VtpZHo4EYZWYiZVYskzr43ov/uvclC872cxlgDEd7u1uUA66Ng5juR6rpGRZ14tCKBKOXavxrAVZ9ztMGF/D+QcAD1wQP5ZLG0SRK0PkSWT0pDBqiyedGFjQotP6ZGyFN1ikU9iNVOzatA4SvNMAAzzPGNfN6y+PBrTWB7fRtxZyvd09Ro9L6oXB7JtDOxG377yKNwFsvZgseZ/tUflOGNZDHbhmh86o7D0sb4xcIu1zluT58E9ODRGtVgbM9AMJVXBnmPSakRWRntjBonDlrpOIBwyfPSPBJ0x0dWf+jA0rxRo4uhcubMb7TrOCEYhq7k4NG9wZMH5QHvd0zvhDedY8gL69AnzTTP3/lScBBYuGdds/sVRL63q4Pelc+MW2OYjutZd8OEKxpQ0M1AysbM/jL9cVuqE8NCix2GbTy7t6lUbXEiijNgrA05XC6x0bgR1QKlTPdxVhiTcQfP3sOotCGo94FJ2lv+0Cm/tizBiTdt/Mr5NMm/VjDT47Dou8Xxne2JSlCVMlkg5lnSJiTgN6zvQD88NnQJEjM5unUBDeFo5n42oH6PEZAcn1bHQCOLYKyZ+yAzGq+9t+v/UY95SrKqHppVX3bs2G0xE2JUKPSSrlvQtpcOF32AsjIKA6j7R1CCv++GwgPJiWSxw0KwJ3OGFjEcbzWHq6dlT6MOelnV8IMj49x4r+jmdmZUhC1dqeAVSlRE9nYGRs0bUFUstfHtkDbTLlntmqd5RsUaXgkijdq8JnQzGbNTX3LIP89OQEOwFogV+qG7WPFFH7xFHu+zqrXONERnyPQ8r+V2CdVE200tR5uHullfhmyEUQ5dQqOSyQ3sGiTIGmsN44vgiq4+B9OI+mRH5eQx2+2EhKLwPay5h+ZZgXDvlSpNeTz0IVdubhqXD2XecoNxB4V4obSIUtlhRtyThNj24okiW9NJGRvG/n/Td3SkSyOHLk3VwLsYFW923Dy75KH4YO8pqCMU3Xi0u9RBlDIMFPCTeh5zxUcyy61IFGA81SW7frvbQyPOtH6vz996zTEOu0iycSRVWux/Xew+RUl69zv4mJN5o33GSPaopdMzvx9vdNZoGsCq0rJLzGvvok+s2scizIK652K6AHdb8olK5S0NQ79AWgZIOdckob63SAwShfWIr2QZyGm4xqUwfMxyZUpkDjY9xOjp5vTtaPd4ShAXVMyz+KJIhFukH66AxEgZEBtnIxxu0pCAlKVZPFxcOoolzb27GzKvrbwCAWa6ZDHY1LqEz0xIsKzF+MBQ+3azyhOfidSEP188zHhySA9SAbF4SobrGuAGkfZBuFPetcfpebjEsdv9AxmqO9kTQTtPcfwPp6s/nykVdcZjsXd+/XmxOaat4CkiMrj36qyDHLwkOtc99nTWHxgonk3xpwk3FB6tpH3BoCJfS1/JJNM1Q+W2JMx2pWOy8n2IzxF/9oP9IvTsLqHnUoHxSuF3PrESl+++CpbDQcmyZ3WfsT1j0b52vlrjdKQHAkE/OKOM9iS6tSDACCDkz2y7JBNaEi/qIIa7yGjxMaNl2IMyW5qdqGLbMF7w8SqqDiaArdK7v4vB70JFPPeqXPQoYRbx9Y7wNL7bTqGyp4GJRpo6Dce3LjsOAifJw4v8RMlZfVlbJW4cIUgFHzQCjT/dJX5D3Ui2H45iKY0GEuqxVCrq19urgQXGvS48LG2dXj6WJ5FOyzwmAKy0AL3btUuIi9jTYMkC5Fj1aG6et6eMSRpvkhmbo1MOcaxgC4+S1lBlFRcUoVmbkInL77W4srZYaglmis+p6l2J8yNDp8U9027mIUXeYxSPwO8lDp8xavyPq06Puqls4vnA16QW8WwuznLBbNZFX/AUqU2arSRUhApbfTQ3r/RxvL3rItNzDqb37KyNXCPwVfMpO0jj5Sjh3GvQGKcT5ODOxdSmPhJpadrcwb449y5/6s93i/uxRJOzkIMCMDXyTgXQqkHMevRGlbFA0wsKAc4E7VatyEh3JB6wcd8zMXFz2IO3RKS7d7f9SScHjjXpKZoqn2nYVe5ThPidzPtKsA45qk2D9fXysEBdbPUPep3K7cIDgxCTLmGWtuph0zigkU1idqqoXkqTZI1DtAHHelZ9I+7/Y5irGmRkwO1uUwjI+o/hxhdvoCO9QMJXlUXGoRZBEqmYlGuegLy8wRY0Ti4p4gOSE4kPNzpS1y5WbJw7KqGh81Uyhw9Gf+147am0rrRhH8Tv3JUHNEUhwHpWrpsHFCSsBrasSNFVGjmMOlS2yaeDjR/69VEeyxv4tWnr8erbFCE48X7s98Z2jpHfEdroztXYOHoCeqyvOllkFIHEoyO5SSQwzzAkLhoY4SUDPuSll+H+N6vgPOqI3HTkjTdJ447fiX798CzyqHCl2wVXbeQOIChb3lotDarKaZLvyweryLZUhC1vZ/0cn3LEf1VT5suYKOoC6DDs/Zin39jcFcmE1EatoW76flECOrIv9myTzLtrJnEszI/uhvOp4YYAQBoOXMBxp9dWtwGq6TyfrVsji0PmldIULPALjeyeo4yG5feKN9u3OteEtfVryBl9dXdouWJXVpuWPlpQ/Hyocw/t2vVy9c+FKkpFUZwNph0cWHqE1dL5CWNQjefuQThN5715Y31ldNI7TYLs8+pkl8Ut2c+b0emndhhT1V9X2ym0DCaomYdncExauz8khv1mMA/5Bco1GMCZG+JMQNCpSB98V+jGhfR//YB+6v3ptps8EroKuGhYaprDd5LjiRd85LR/q9lPli9XaK8X8fmfr7Q3vfd/uTeOH4BCJw/1OUerBboLsfEuIHv598LQC61PFTu4kiV13WseND3n2E+oFk+Vrmfw7XgvaU4JAc0zcjEVO2+Xp75YEZmTKgoD3aM+XCZ1QuHdYhIMbKZX+Uxn/GpslnMfNIpNTDG5Woj/+DAnIBKG8i5l9Zhw5RlXzKbx6Xhc2tCDjX+n+ZKPsb1nBguykD69pLHO0nPJ19J42wey2gAku4FdUWHD/lldGqpMjsiu77fgN8dkl9fnyaLzOlnWkcUw6XGVrgTGvW18zWPeEqsu/d7OAlmGmDv/rCoOF1IgBcPUxF3CWt9ru6fzLq0Uv4n67A4aiX8QexZpmpS+AA+kH+A3/5WhTrO2Y1UFnqmsR+8ZTcLqSwhi1NgofdsF/b7y7IR52DCjKulYuLUrvoXQgtdaMs3/bV16vVLanEXz3v2M1B5/Zc1hgGv2wC4W9l3k9sPk83BAUpHWE08x8/XGMWREsEfK2nVbjU5tweosBe6caQTZFy9kKmIKo5OzQ7SoUmWaEzI1WpeHS9qAbYJskt9QovJsSDU7CbhJC72A/fTudADJ5xs/bXTGHmYAYAQfQVYFh7Uoc1aVdlPdeaj+IctNYSXt4RIBtrkLmFavyOrqx7SdoEqQvxX3jtsNifscBGUkxxYreGO8eQcPfNCy1GcPIXOmmvpBf6ra9Z+vqcV8kaUwXoFvnlSIja9bU2be9Yil9VsL40qB/BawahScV68/4EUb/83b1GneZylh70BmV3eKdotSQu0sN0aUSoH1z5VS3sDCeCHbuKVmNeoivogxJdGE6sx3si3D3ILQGROu6T6eiEhshwLhasJRWEYkNGGKx1Z20VYTiI4k8uPrzVkrYZ0s6P6HUifyTpz7QXqofCRetjXCPvrB4gGPLdFXdY6Pjc32WUS51kCrYOVFnFPyZ9S9OqCYMtASw0MFY2prTjLqGuiOl1pL2pIG6rw1SrinqZN7Qd5Zi2s99Fn0rHru0pNLUFeI+Nuu/e2hUCUoVe+i2XkauDZmuOl7a8bPBi3snXffpLpDXuEU3T+x9gQg/NXVWSedAq4deoGbUcTekAlpMassPFZ/ugIGZ1hFIJbNfCBnHtdnTbC1qnM+T6XxjSnZfRiuSkrEbaWCFXa4/XN10C9qTwYHPNNw9kn6GTOHJ2lJXqtWTCs/711YYCbktR9ab9ktgselHkgfgYNXDF15MDM98CckDBuoiNqE2szhyvFMPOI5qOTkosyNcf/9Mn9IecrcYEJXoJb6k3d8IO3GOHb9Zsp321ZiQad9EhrAOw0D/hq5zYtOeK7k7IkNFcRZbWDeXn3H5sttBfuI3eblumlANHiPNz+LId7sAZRuaxIYlZSJbMB0X7QxkOu1N98oQSeYLpSuaHaH5Yzge4igjrjgSXHbwNYAmcnOk2MaKp0h9jO22BNYEzncnbRP83JSTWINcm1vljthTKw/8W1sORH1UKQAm9IS3C8POz5zqRpXRsM+EgvkH5BYq/49Zjbc91eDiDaCqd3ATb1gVKrJihonnoDSfZNwyhzonR+yIAO7e77w4fhcTmAsB7uEmZYvlcpgOYWruxHs90VvkjaC3SxoFv7AKxBMk0K5jQC2GVoaDSNLHLGzPTSWcj9gBqSRv2TJLPyIhgdrY1Cb+7O8jaGp3Gp6zhgWKlBHHHcwmAVo1MVyxMGXl6NtyD5bTeaqhlOy+sevlxl6nPbIuEKciRQYfK3LJ+kI9eu3NWviqjzfgAp6saleO0SxWQMzmN7OM6VShDjdir0sIoLGTQGlymBdYkb0zmLTgxrurkTM2ALaWCnJtkaVLsQ49savJMIk02OMlDCPqUZokjBHiCLQY804Ue40X/inheFEV1GwTzrb1fQ/7BxkyO1ofO4Qz+4fSA==">
            <a:extLst>
              <a:ext uri="{FF2B5EF4-FFF2-40B4-BE49-F238E27FC236}">
                <a16:creationId xmlns:a16="http://schemas.microsoft.com/office/drawing/2014/main" id="{9DF11850-9E27-D4C2-4D7D-1BD6E40A3DD5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gray">
          <a:xfrm>
            <a:off x="338074" y="1413279"/>
            <a:ext cx="11520234" cy="4644523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 err="1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3129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59D4C76B-66ED-BC0B-2FFE-5F43CD477F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227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D4C76B-66ED-BC0B-2FFE-5F43CD477F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91186A47-9438-9183-CAF7-851073E6291E}"/>
              </a:ext>
            </a:extLst>
          </p:cNvPr>
          <p:cNvSpPr/>
          <p:nvPr/>
        </p:nvSpPr>
        <p:spPr bwMode="gray">
          <a:xfrm>
            <a:off x="2214168" y="5875681"/>
            <a:ext cx="484549" cy="208813"/>
          </a:xfrm>
          <a:prstGeom prst="rect">
            <a:avLst/>
          </a:prstGeom>
          <a:solidFill>
            <a:srgbClr val="F3EE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5E57ED-33BD-3F76-2CA1-DACF6BFF758C}"/>
              </a:ext>
            </a:extLst>
          </p:cNvPr>
          <p:cNvSpPr/>
          <p:nvPr/>
        </p:nvSpPr>
        <p:spPr bwMode="gray">
          <a:xfrm>
            <a:off x="6831153" y="5875681"/>
            <a:ext cx="484549" cy="20881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B1D0D4-064D-A629-9E8F-E6AA4EA83245}"/>
              </a:ext>
            </a:extLst>
          </p:cNvPr>
          <p:cNvSpPr/>
          <p:nvPr/>
        </p:nvSpPr>
        <p:spPr bwMode="gray">
          <a:xfrm>
            <a:off x="3411101" y="5868291"/>
            <a:ext cx="484549" cy="208813"/>
          </a:xfrm>
          <a:prstGeom prst="rect">
            <a:avLst/>
          </a:prstGeom>
          <a:solidFill>
            <a:srgbClr val="F3EE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7CAB0A0-91F1-0B4C-A501-6FF242A7F8BC}"/>
              </a:ext>
            </a:extLst>
          </p:cNvPr>
          <p:cNvSpPr/>
          <p:nvPr/>
        </p:nvSpPr>
        <p:spPr bwMode="gray">
          <a:xfrm>
            <a:off x="7945899" y="5868290"/>
            <a:ext cx="484549" cy="2088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B3C9313-01CE-D43D-9F9E-259559C70D68}"/>
              </a:ext>
            </a:extLst>
          </p:cNvPr>
          <p:cNvSpPr/>
          <p:nvPr/>
        </p:nvSpPr>
        <p:spPr bwMode="gray">
          <a:xfrm>
            <a:off x="9132318" y="5875681"/>
            <a:ext cx="484549" cy="20881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3022E89-FE72-E451-D7C4-7B8EF204F6DF}"/>
              </a:ext>
            </a:extLst>
          </p:cNvPr>
          <p:cNvSpPr/>
          <p:nvPr/>
        </p:nvSpPr>
        <p:spPr bwMode="gray">
          <a:xfrm>
            <a:off x="5664968" y="5868290"/>
            <a:ext cx="484549" cy="208813"/>
          </a:xfrm>
          <a:prstGeom prst="rect">
            <a:avLst/>
          </a:prstGeom>
          <a:solidFill>
            <a:srgbClr val="F3EE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41" name="btfpColumnIndicatorGroup2">
            <a:extLst>
              <a:ext uri="{FF2B5EF4-FFF2-40B4-BE49-F238E27FC236}">
                <a16:creationId xmlns:a16="http://schemas.microsoft.com/office/drawing/2014/main" id="{69DE8F47-791B-FAB9-DF2E-CB9BC65D607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9" name="btfpColumnGapBlocker592198">
              <a:extLst>
                <a:ext uri="{FF2B5EF4-FFF2-40B4-BE49-F238E27FC236}">
                  <a16:creationId xmlns:a16="http://schemas.microsoft.com/office/drawing/2014/main" id="{E7678B07-AAE6-F79C-9353-1F522223E06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ColumnGapBlocker325655">
              <a:extLst>
                <a:ext uri="{FF2B5EF4-FFF2-40B4-BE49-F238E27FC236}">
                  <a16:creationId xmlns:a16="http://schemas.microsoft.com/office/drawing/2014/main" id="{30907750-0885-4B60-2D64-AF4080E85A9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2" name="btfpColumnIndicator853481">
              <a:extLst>
                <a:ext uri="{FF2B5EF4-FFF2-40B4-BE49-F238E27FC236}">
                  <a16:creationId xmlns:a16="http://schemas.microsoft.com/office/drawing/2014/main" id="{25DDC048-7B8A-096E-1053-C120FA64B60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293815">
              <a:extLst>
                <a:ext uri="{FF2B5EF4-FFF2-40B4-BE49-F238E27FC236}">
                  <a16:creationId xmlns:a16="http://schemas.microsoft.com/office/drawing/2014/main" id="{32F9C6A7-5EC8-4489-0110-D7A71C8EFE2E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ColumnIndicatorGroup1">
            <a:extLst>
              <a:ext uri="{FF2B5EF4-FFF2-40B4-BE49-F238E27FC236}">
                <a16:creationId xmlns:a16="http://schemas.microsoft.com/office/drawing/2014/main" id="{B1964F05-16B9-A130-5DAE-13CEAD8F72C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8" name="btfpColumnGapBlocker987724">
              <a:extLst>
                <a:ext uri="{FF2B5EF4-FFF2-40B4-BE49-F238E27FC236}">
                  <a16:creationId xmlns:a16="http://schemas.microsoft.com/office/drawing/2014/main" id="{2A351044-ED13-5010-1E6B-24CD8CF73A4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3" name="btfpColumnGapBlocker115644">
              <a:extLst>
                <a:ext uri="{FF2B5EF4-FFF2-40B4-BE49-F238E27FC236}">
                  <a16:creationId xmlns:a16="http://schemas.microsoft.com/office/drawing/2014/main" id="{E937C946-FFB6-4EF3-144A-C4142EA7F26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538028">
              <a:extLst>
                <a:ext uri="{FF2B5EF4-FFF2-40B4-BE49-F238E27FC236}">
                  <a16:creationId xmlns:a16="http://schemas.microsoft.com/office/drawing/2014/main" id="{258EA3DE-A825-64CC-C064-65D57A3C3AC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133433">
              <a:extLst>
                <a:ext uri="{FF2B5EF4-FFF2-40B4-BE49-F238E27FC236}">
                  <a16:creationId xmlns:a16="http://schemas.microsoft.com/office/drawing/2014/main" id="{17808599-B837-11DF-4386-216627932EE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172363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0_132234641713854426 columns_1_131849694517761216 6_1_132288352405399507 9_1_131849694513342530 25_1_132174689622401488 16_1_132234637570445797 10_1_132298120093994249 </a:t>
            </a:r>
            <a:endParaRPr lang="en-US" sz="100" err="1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"/>
            <a:ext cx="11526837" cy="876687"/>
          </a:xfrm>
        </p:spPr>
        <p:txBody>
          <a:bodyPr vert="horz" wrap="square"/>
          <a:lstStyle/>
          <a:p>
            <a:r>
              <a:rPr lang="en-US" b="1" dirty="0"/>
              <a:t>Digital ads:</a:t>
            </a:r>
            <a:r>
              <a:rPr lang="en-US" dirty="0"/>
              <a:t> Target 1 and Target 2 lead peer investments with the most diversified channel mix, yet have room to improve efficiency by lowering their CPMs</a:t>
            </a:r>
          </a:p>
        </p:txBody>
      </p:sp>
      <p:sp>
        <p:nvSpPr>
          <p:cNvPr id="55" name="btfpNotesBox852275">
            <a:extLst>
              <a:ext uri="{FF2B5EF4-FFF2-40B4-BE49-F238E27FC236}">
                <a16:creationId xmlns:a16="http://schemas.microsoft.com/office/drawing/2014/main" id="{8B9CCA1E-79E9-E7D6-9F25-97A327960C0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32234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YoY change: May’24-Apr’25 vs. May’23-Apr’24; *Cost per 1,000 impressions = CPM; Display/video ads are programmatically placed ads on websites or fixed buys/ deals with websites to place ads for the brand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</a:t>
            </a:r>
            <a:r>
              <a:rPr lang="en-US" sz="800" err="1">
                <a:solidFill>
                  <a:srgbClr val="000000"/>
                </a:solidFill>
              </a:rPr>
              <a:t>Pathmatics</a:t>
            </a:r>
            <a:endParaRPr lang="en-US" sz="800">
              <a:solidFill>
                <a:srgbClr val="000000"/>
              </a:solidFill>
            </a:endParaRPr>
          </a:p>
        </p:txBody>
      </p:sp>
      <p:grpSp>
        <p:nvGrpSpPr>
          <p:cNvPr id="57" name="btfpStatusSticker135758">
            <a:extLst>
              <a:ext uri="{FF2B5EF4-FFF2-40B4-BE49-F238E27FC236}">
                <a16:creationId xmlns:a16="http://schemas.microsoft.com/office/drawing/2014/main" id="{D1B5A81F-7A94-7FB4-4256-B7005CCD60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15" name="btfpStatusStickerText135758">
              <a:extLst>
                <a:ext uri="{FF2B5EF4-FFF2-40B4-BE49-F238E27FC236}">
                  <a16:creationId xmlns:a16="http://schemas.microsoft.com/office/drawing/2014/main" id="{B2249B27-3EDC-6235-C126-1D70173344DC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6" name="btfpStatusStickerLine135758">
              <a:extLst>
                <a:ext uri="{FF2B5EF4-FFF2-40B4-BE49-F238E27FC236}">
                  <a16:creationId xmlns:a16="http://schemas.microsoft.com/office/drawing/2014/main" id="{222C25BF-DFEC-A2C0-5DFE-95EAC13D3B1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AutoShape 6" descr="Lay's - Wikipedia">
            <a:extLst>
              <a:ext uri="{FF2B5EF4-FFF2-40B4-BE49-F238E27FC236}">
                <a16:creationId xmlns:a16="http://schemas.microsoft.com/office/drawing/2014/main" id="{BA903C1C-5C96-0D0D-92D2-6BDA3D748E9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AutoShape 18" descr="IQBAR - Keto Protein Bars | Vegan Keto Bars | Healthy Paleo Bars">
            <a:extLst>
              <a:ext uri="{FF2B5EF4-FFF2-40B4-BE49-F238E27FC236}">
                <a16:creationId xmlns:a16="http://schemas.microsoft.com/office/drawing/2014/main" id="{ECF4347C-64D7-8ED3-F31D-3F9A5213A92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FD31C-43EA-C42C-1EE7-FDC7EFF673BD}"/>
              </a:ext>
            </a:extLst>
          </p:cNvPr>
          <p:cNvSpPr/>
          <p:nvPr/>
        </p:nvSpPr>
        <p:spPr bwMode="gray">
          <a:xfrm>
            <a:off x="4581471" y="5872754"/>
            <a:ext cx="484549" cy="208813"/>
          </a:xfrm>
          <a:prstGeom prst="rect">
            <a:avLst/>
          </a:prstGeom>
          <a:solidFill>
            <a:srgbClr val="F3EE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7" name="Rectangle 1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qGj9ORi/EaBjXhptmFcMDJT+q9GXA6qm+Mbi6vxTAUD2XUGt4SbUMuWJ9vlduointcwMlprPMCK3tY3BhXlvQw/eAa5IY0GFa+GjdLIRChI9Yt+JXyXkn5S3+QdDQYg+Qe7+csNq6R8KnZSFzsLz0m9/IBUcXxycFGNZINoUYTU2Q4RTTS0pMCZTRJmvsxo6VwhV152Y4eoGp85aVhP3rT7O7dvQuU/Y9nwDhhBznJYglnMaIXr7VALUJ2GPMoGhYYaxDnPbtT9/dHYbL093I5nK+UmQ4z+nQdTnzQCVXYF4tkZxaHcZDi5H5bV2xeSTJvqGWY+7ZLESWU8BwVgXVMNDZeWWEJXZ8jjLvm3Afj8C3OWYcv2NxK0w3okxJAz1G11qriGI997jEmJZXzNyJ01HCgK7NhS20qTfq7vzuycagBj65wyXN1gkOcUqXOzxwNFr69aCS8Wp1E2D0DZHYLLn169Tkq/roF/cwPmPudWv2FenzE4ZGYLDDJg9OC9pdbDsJN2qd6soCYlS2Y6gU3uwmGND09WmHkgac9N0BPCTKzbpx+MvRuAvIyUvqhlSVUa7fYXmcWhzFgJW6I0KscavcDRZRUcAYuEte40aHKCvj7E2tFLjjXBzU5apTItWbTv8xhuuL8T8ow9Hm0pL9A54GgB32nCHLpKyRt4b2fJx+IHsPFgpoenmx+7vBqW6/v0JgcylOHkWfozYJ6ZVFZDDRN3Yx7o0ttBmMjncd5DbOXHNUg+VvHPNxvuweZLGbyNlDllYRGSIqdhbxkKypHinDVTy4LFB7bo2VjXKm2AyrUP++bIHjMCBSjCMaoecWzsepLCXwbjNdlBekTW73zmwxZWixlNcV0pCrZ9anEeZIlgh0NgSUYvNiL0dbQmyEnW3Mmpy06oxq7ZLiVZT//EfYSepo3x/IMzz+RmZQU9LnrPe/RGWBUHP5N0lNQn/N7LURZArfZkeHBRaBoGb62Xifd+wMTvr1j6ITrEDgdDjEyIXyWQgjTmJ9ipDW6jqgWf3QH1P5iGnBDkTw+vhQQid+xdxfD10vYg4WOL9RYwP2RC5s0xs+/lokaLKqsMQzhvuCv6YMEblafb+O2Yfsz7NET1a9BA7izLXiQ0bG5fhTVZFjD0kY3IBTPP60hZXRxHqNypTMH/+0JK4K8SAkgoqfxHbaKak30/LN9s342Kbiq6/xDAy61yiQf4GtSunNExaBHdQhC5QWhncfDIR6aGiSB6sSuzJPn0VluKz/CL4apqbUEJMrUJdKBW4dGj5pfOhhHz0tVFRMtZ0v9O3yfGkORAakKGU3FaZg70RSCTy1iEeGEeViZes5/2PlgDRB5NBxApv+5n3ITmQTk9P5q8AdYzqRDZ26DILKzqbq71RXiJFzE/g7UiXg+HyoBqS5p3OHof40BKcK6sSg8T4LeExTJ2ZHJ+caTdowI3etUIzffDrq5Wm4fKt/hlPOdMtr7uVI7QIyZPIaXgOlOHmWVbxeEruN05IAw75JUMMYrHKhtYHgJ1G5IjySkz16/2DWtfyt308lFF8qlpw4B3ASP7oJY56mQ5Sh9n8BZihhAEhAhQwK3UCLRvcUrZZfJKDe7C2hbahYvdenYrSdjDk8YYQ6+BrSc4yzDBnwwOP3TV9RqEjAGormOXXq+OjvVnUHbllafNyB4q6LctEv92SZZT4+elC4Dtu9EBTcGux3jYa+oYB6Bw9piqLVUQ8ui1PckKAdoZwcPzLgf/fzzqVQmGkAQy3bekPCxLTDMncnhuyvPkvqCHj/wwKI7aCdywYdoMjNgS2FfMOIbJtE7D04gBbKUC+4Ge6Ve7xjqk+3RKFwtHN1e6nRIVBvmmzNaBjfgmkC4JfwPILpU1MrY6iKEYx63605AV+3HgaYT2/ObMdpJnRfLvUMIffld5a77L3JVou84yD/g6qX1w+c3/jGpnXDldi7A5ysVEEsrBrpDf3r+6+P0ua05SKy45nfzdVMBqIbZUbWft1gTFwWFI8ATPbWthAP5/6nBmty89Lf8rEQw1XoXb5DtXcR5uWIQsnX1mAk+h6UwZF0SS1ck0YIMhnvjzUiJFaYoWu+1yubPtgIJhNNStd2aV8GgS0FPJZ6D6sA/L9L72GFWUNcklaLwMPNQ5/6yWKCkUpSmc+Jd4z2mvJCkx5R+p1xfDeoLHx9RBxIm64EKRhBaMBNAtnavRQ6c25+wuFqfF2SY2krHOlqkoJxhaOzTdi2vi2r5GzkNgnf/bgGB2/wJxlYPIz9tSXOzBsRNM9a5hATK15+Q47PySCsAGUpiXvosieQ1G41K1gnss8Yz4ERz9qJSX+4sBj7CYCok4xA2uRWB3o4IOJ99uihlIjNCpJJ8jUg2mo+KcleLtqv/xaZ9L92tU/VQ/6YdlmavTeW5pdOTb0YeA7I2Wt8RUXo8xWrmQXijJbg4rLXg+K4ouYU00CguZDMGn2nozzF6EURmaX23fvgkELY3JqgHio8b7bG7ZVEyuMR3vuI1k6vkkx95t5gHpfXrr7FH9KSitEC1YLi/liqqwElUgiUSYZTLcgyPYAWlZgxOT2f/WPI3MV+CFM4Pgx7Kg5nPLw+7/tYKljBlGNA7qlRo+27Q94h0PgexB3f29XimGELxbYiUgqFuSbVWWW1lheoWAb6GDJfRG1sk/PwaQvnwqRUM1JPFSt3oWMhJiYHPzXLIAoXF/FCREdzbgLDgZ60hPgAllpDdMtPz5d5gzruv4aO9m8Kc89XaXH+wRCmX8ZaohshL7GmKW5UpCiy3W1aC1TEAtaJYROUKH5Lp2nZWcREDZrs53tgzJAtygxpUEf5ibNNs8bl8le8xT6gdWryWhHBhKd0+iolAHUBAchdDTowgDVI7wNkN1+s5t62Z0lx7DT6QJSRyIeWU9+hTidASxiDkxn5y0fR5GXjL/sJzIFf4qKh7oTYnuMWgxGI9aozzeagL/ZiDe+0/xp6Ml1+cVHDcH/vXF6pucTTb2cOckkmlrwGnM2XwmkqqFePFl7tIJYeJGpXxsU0j/aS8Z6LagaQudW93wh9YwxpUrsah/WZ2bXMJCuZQrdwQUTM/Rewfc+exNYRz0cakZhpHskaowK5b8MyehP32uF9nXdck+44dFO7SZhcI6RgaaMGFasbS7qTV7Ydp9TQzyYdpsqhRBv6kjZoO8Q/U8c5xrd5Jcx+oZTWpWx/Ro4LMu51GJN2SaDJi/wzyu+WlAlLaJeYrOK8R9UqT4skaWIH+LPCtXaYSGoYik/xVwbAnTbh8lSNTsxdy36lsD02EVAymnxe3TRLZvuil4Pmnj8vs7Wai615PrXJxzpIqz3xgyz6MBEM3LU7DnBpva5mlOd/D+UXpDiukXWMfiwyyoJ5x6/o4vxoRadkl61tna3Hs+bFCs7gjRGXKBYWgBfW7wAUzgBLoj4rmmEGEchLgQ9Ul3h8SXKODtrzJctCBHUFlnGjZnLA7qb+8UJfogUhHSzN/GWn35je+fBjEjZ0fNLxj7Wpla6lnlwQ+2UEaNFGwDDOLKkWk4mjjJrImW3GQPOaCkZOZslZHY5zO+vsQFnyHikUCNBfZnMe2KfltHSO/5AFZeRkxbMG7RlM2VrI5ENtEjQBV3fK/SkOQtvVvRe3NVMFhyVpBSXW0q0ZybU7DJ74+QE2BKTkpteso/cCz4ZybFTuvnPDDV9LEVw5Z5ZPO5URslQS58ApV0g1SNTMN2VyYGOGmk4krAIZAG9iqmkesacpnW556iSEg+1e0aXKgbX6xn/b2GxfdEQSraIGHMN+0o93VT0g01enE8bNmY5SWtU+Bsxhe75egt+XvufnLZkeNRJxsfieIMTllx/57YBicIlK6p2PJAYKWLEuUhoB5hUeG0045fRnLMq5qn5r13MmRMhrMXFtJWs+noHeV+vdIg9Nlle1LqOVM7nvvjkYkzSqOujqYEkHOpbyZ6pdDp6dBWCJdNbJA2skbggwOQW6TntZ+jQbWYg6UPaVsRACAIXNwzhUzpkQ/6AWTrkEdf/nzK+BXWsDgOsy9iOAGC/pvQ34Jtz8d2WyzRS7vfp9g8OVHLet+0fLim8u3GB3WkctFpJuViXkW2k2d4rRgVh2sexyDvqCM/zsFwtWjmtObWs52pVKVWONj81k/zZUMuEsBs4zsrrAN/Dsu+7BU1iQonhxT0cEPJbR/VguJcl4ntLuofTzyBpzVo1rdBseB8e78Jgw6PVH5aDsMH2yXjBp1O28vDqY5EgM+o0Lv/Wp4+YJgAqfla1onynRQkY++RiLsKQn2pCqV9LeKJPstdahJQ6EKNVy+bp4hC9Omqlppw9w/S7x/yg1H5/0uIasd58H5ZurtB2hsTE1YUaO8565rCmd5y8R/6WiYG3ON93MO5m/QLJuP/lrEXLqWcxzJtXGhyXMDNdRVTwhrlWF6AXaaUsoPkXVHh1krsSb82SyjmTAtk15q1lliBwcSkoxGfx6aX0Pb/eSh/KcY0e6QieC//0dVjZltLrv1R03S2Cl+8P5pdDdM6+Nn/fxqfMgZyhNKixtTOGGESqfcByyjvG3w1766LR8cBmDrCsah7HP2oWzV5ibkav7hOs9qzoFvY44A5G00qsRvhLE/Q01I4ym73Crs8tEugQ+14dwVC7M5m4f6dhNvijcjsl2Eo5yuXHgawe1SpmTiwO/UnitEO5SEsvitD/HwB7nuraPAi32q+JjtTaCwmV00yUHdZ8EApRfc9t+W599TbGyasrZxJA1isxylzYKQTxJ8f4Acq/0ED/01GybJ+lBYs4AZmJDbSNd+NOFWsNxC4nImQ4wFuzS3YvgWCEkt0/yzF5QhiZVi5qyGoTHFRFIy4ZzxrI6A+4PLq3bl4YpaO5CZAzdQUyf3XHo8R4JsRBqmVaWE/FrDjt0ISnMrmgjLFym8gn6SMc+KPTd6nh6lSoIoJo/qca+m2AEDp3EIdwPUE1jYXFzKZHGHjDoYh4w+LLDrhzxCJ7d2J2sA47WcP6P+CH4K9VNLvtQEmb6Io+Q8geteHFUP5JTyjNsrZybUMwtRDO3KHk3+ruCTrlboFB8U5xDJ7MEoSiEwuiNeQ1A6x1scnrzUqEn6/6+HGlzOJmoMtjbraLZKTQ3ciZLe99RZEjlWD7+KFWyFsseSjuT4Nd55vx58YvDHf6S+e6x/Qmaj99Rc1OHXF0ab9P6REX0QdOEXn0aa0vV/4/LCf+ePPt1DQCd0dAadiuPSLadWwhpqsHY09iGjEO+MD8irf5EEGOhsbqtJBDmHey5BuGR0/SfV9FY1UQ4YM8/3yKl3+Xtb8SljNl5b/J+N/KV/GxI0s32m7g+SgD3iZtoGKqOPML1/b+rtVdqMmBKMMNHiwJDqJh8mYVI02Z6XP5uoH+X4DnCDI0865YlVPdf0ilUGX4tzpC2QTlPCoc7GXpzB1+G8nLjVw0EEeSRFUvhZ665wVjnmWGeTJqTCUwmEVLL7tjyDcq5YSzxig7+lgHDv5sR3u/HUjkmSgeuMD5cx/rdz83SYSZ+BwYMjANNYcz1ZMnU1DSoIhx9fyD3gMM4NjJD9c2+fNAy5qvij3vhg8r0bdbWqz1lJMUB75sl3Xo5jS53gcIPrBLhb1nmWwI417r5ZY1jbxlvy6XBH58hEM/USgreM0PAioC+lK4PTFBPynfhT/fMJRO6cIqnjVHhP6fpptirqc2EY8ZVY0u66LUklzKEyLj4uEUTqBJrvpAZumiAt5wucrhYBxcSPY0AmCEITqgMKZqIUfTRETM5PKlWDfIW+WyQjOTNmmEF6nAZ1kUM24hOjy0rJPBkTyFVTS3LS963JyzlrrtU3famAb/efAczgJLHfbdS/Kh0icavXFLJEpKxdH/yhJLvWgMY5Bmpmw5zum4c22v+0oo8ldeU1RrFO4+VVAgTZDYNxUSawA/dSJwaA6e1eg30XCoJW/jMzc7osY3q/NtNr6r3vHRy3Z5YBvKhj9wdjaKbMz+4OCsu7p22nO0KSyAYnBH5DyY/1laTSou/z6x5ZOZb+r0110gQPDPl9e7JQg+dVm/permV/ZsQT7Iyu0KMkDNxkI9M3axWfofnjgFNnxJ+OnyA5WUWK7hl6mh4stRnlzNzirIyZf96eS5bvatlSyZ0kpDDCWCM2rQ8W3fzuRM6USe4uawBXKCxqMhMx8JHMlX+8JHvzDtpwoxI4H/8Kj/ndn2Xf5qL+7M8GNb+9UUjDGcVOBgbV7cs5FMC5aKL7Gdzy/9NNQ/nDHMYJn8DTi7UowCIsG4+nksMGuZjy9k+3VNA1sGcTP8gJX5dukLBAQqtLNAjLfApvnOGOH0QQNH2wRvWUXGUqyt5lrR0aAR9rqQ3d/UtvTXLfB2qzycdtUmQG/yXSjt1vLNYFHn3im/qUs9OEnFbun+xEl4SOrOvxpF76lbZ4qyxkP/2DQouuiHav8TMwb8X/aophzawcYLv6qT+3z26OUS+GT5Ki+n4SLnNI8DUv4n3tQOe59dFzq6Ix7UdGg7zIbjKxSuic5h2juPgQ7o+XYr6dFV9cHYS4RnadrzVReiwH+CImv/Ao7/22Fcu+csdxb9omiRCQSUIJLc9LjMPbppHMlrtXqJGiOv6sUJxmktqFx3jjzi8ATOji+eNZOhHqswUVn8c99sxrVDx/fDxcOx5mOuSWRnaXdgypfEjl9fpTbm6pBICjW10XsiqVUyvuYLR60E0pnL1amYIoU20FA4xPWaj/sisxp6ZGBU4mUuRGZBXzGZTCzePPnwl+7fvKX88nVYxr+d7rVNUO+ccbGclRpDX751qY7RHpE8UZbdS8F4IhVozHwHsHq90Ft6TVLBM0nIibEkWHphzn8nMiZ+fSqj2AM4RejWdHg9iuBqfg0wd4jkOLSBQyZ1NfkLPoPQ01Xh88AQIZF8wJr4E3IQj8lb1sreAq0czOU+m07sOZQEqdBPgvd0E/G0tdlbMwoC1PcDzCAmmA3wEK6qBAfS/gQzqwZA1k2TLto3brDVFeVW4Ev9H1D3o+gddImohiXgdiSCWwxQ2x+SnVe+hkIbVPptS65Y0WfDa2MoKzakoyAPU+4J/Wu7YUzrs+Wf3uAxYxo2K/s0gQEVFwHk/BTl5AsrdGpwrhfQ3sa6K+KB29sGQN9lLOmJvC5/ZgWS9uAtQ0i/8SKEIX+4i/SLqBPX5nOpUDaKaq3HhmIezs8bGYbqT17Ga1rduKeLHI4BMXfpH3Li0APtsPG/iTAPteA6GJQ7cz4Sn8CZloPrQRoRDoTcDswmgW5YL0ifIhnAZqEBvqp8PQkITMovL6/vHDky2m4ATyG8kYfKRD4CTzTxK5yrop+tlwD8V86VU5a15Xa7wbkeF+PCU+NJhf5aF0KvpeL7Ib85HA/Ifvr9LrU4jB1zWJAfj5sn8K0joTjLIrw+TokncycskiZMfLfXiyKHhnnLmB9jD8AHHDtOBkT7xTg00EwNBz4NmyHArgQPl4681MDqYm1z4uWyNLNuH4gMjfGvAMC6yF0GY/q4Cg5pTfAxjhQvQQ3Z3J6yv5ou9yX3cQHAtIhNiV4rWpGHz3GNjGtQMskhb/KZEdiK73SkW9j2mJxQPGiNvkRwvkNafMAlux0nCud7It1NbnUaKIM8XJijD9gBbaRTplUSvpzean1BOqvERMf7mPpq30kHnElLcPYUqsDA/d5uXQYN7B2WBsa7YTs3ZghYZS2WRD6OZXiMNupAM/F631mIAcMq68g2jE3b4K5Ufd3Np9/UH1ypb75ewYNc91Jlx0WghJzRnUjd5CA5KZjLc4Y5Di6o9pmY/YBKgAQr/CE7b426s9RZ0MDzcW7INqZ/T6Js+MJV97kOYIlhYpCHKGNR7JabntZ94a+mvwd0U0gI6eAiq9KcTMM/X1JbqeI/p6r6Ywbf2W4v6gcRqoqml+fHnK/O0MvSfM2/ZZNBc9PuTrDTZTMtKzHnxJbUk8uin4rnKOfcU5rRMxUtpizHok96TDulLW4elhc8maHDt/JM8Zpaa2fzVsjAna7xlXJst+FKl093hmwgaprXdnxTtPWBJxubGjhUkI/x7kIuBr3TC1TlQ5pmh9Lt0TB/GmJ+a8YXjIdqPs+9N9l2oOgsdfA4CIBSSLtu+lWITNlD7oNbX4YMuwlcbCKHS4xF2+DLe/4X0S8MEONK/zmPF0BGCQKyrcappPWpfV8WkNEK+3XWuSTCoklkR5m/I0y4C1mFM3JRaqG67xJhguHkCIlUaJT4+OMfJ6TV8Mar6xFydHMOkg+yBToU7oUHk65ij98FjCEGwVV0mHFnJCXvhKMIQRwP+Pl2HJ6+srYmE+AERUP/m7nk92VRZXVVXEDibhnnijo9Vu9ZEdF3NykMWR536h39Ssx/cQmnLQ0L41Kc5uHJPADOgWUdOT0UKZF+qKSgGy9WuNbIcRVlYGcB3KklDRrw15WRYZaq3CGJ19gjbSSAkPdRdboY2BlprU3fTfUVzKq+7q2KaHvEXveyiLFsCsRpK+WFt+1fUIpdAVuzy8nUJaSrEFGshHdUdWI1IUesePOskNo5BySzVOGMrfiMV2inYSd0oojcd+PAwYcpJTPgAhPj23JchpTKRK8PDGvS72NFd+x+8TDmcYIknr0t4sMz1NV5i+xvR9jo0LscQ4f+f61fFr41FytWWxviiDQUTRCm9FERfOiovUflZAhqcnDSQ6WEmdhlee6qxCCrS7I66m5ou/KJZ+lx1SUhVf5+uaS5zx0Xq6ps8iiWQYowBME6eRTzNskarBoy5ArFJ8sTebmYDqD5nQGgIim6IedmVFlHvIJ9QOqQuCGSZlDrKHpIkF5+z6JUX8L2dBCu99KpF7xPYJLE4IRpBMqIVpUAJO6yqF2/n5d76c36KpnQyEh2hjbViaTNEqENRO2w6zKhmF+6dV/qNWMXGhx+m9FSxrrMIthT2T+pjsA6EKrr7flKD6vIrlGyHpmnaWbluiYK1bhROuVHzOPDEd/D00wSM7E5mDPaQGm0400GyBKCTpnkp3ExVFRhZbKDfOsXys8Qb3fv3yhCTRFnTwFkw6Eihtc+iaQ1NbYR7S80k1/habglbFPv5RpDDalOqrWLuJ9EFy5lEYs8JmXKbYLMtoQgdXLdCeV3yUQoET1OnQOLzSb4pyGF/hw+/j5oY6zJwk6a3yiAiRD4nGMchaVdH0cSlF2nw4YMwWc+3wAMycW+WiC7jvKCZYiu/TR4KiX9FT/FzuyguEoKGoPh+OqfUylkvoiSQzjBzC4/cQjE/O2e+nPctliMFDw2Lm92neevcXrhIOns/QGK5T426HCK1BJeim0BJD7hrAFQ8BBrIhg3xotlfkQrxXmzEtn9agNA+NyoPyiiMLXV0vspwbAsvuNWoa6xCjmTCFN/vzlAanjMz2AJR+kjrmWywUMZ4RxKUKvUIxe0O7XXEud9LFkNK7R2jBNqiDXwD6sODQg+GfV6uC/pKG5hZH1ChDrSQB1ARoSjp2AlCNTDamgDO9b9aUznkmccI7p1Ofczzn+2LxPDyXJpaWwPRqhhIDSgOI1/hYPQFZPCbN7YKOvtzYGTXfnDuZA8bT+w9xCLi18Vj73PqicJQVjTg143PSM4sIEEvKtKISnAX2D6A8hSQithHRwSgMCjhvsghAi3pgXnRDuEJmPK0/mwZ+1KXjX+MwYwIOj7uwk5s4jZcxHvWJlrxld+fqNw7lEBavwHojvqdaLCpUr90x8L3pSjvx/QysOVXtkNjYpwbapo/wTPvNa5Xg2ZCUYlgFT19fRHdynCwb+8Hks0awcUrqwpfxJJZdKRIUsC3YiY86s9EwbrIcL4wtxKlB8i/MmPaY6NdVfbazoC/tCiVXDqoRkyaeyHtdR7GzjDwrdx0HScC4SpPvK2VJtDeUR+2bg2YjYWxWfMpjHo/ErRY6FwUzLnRDfwIVFRG9R/rD0znExyzVYEuswlnVK5YEzSOgn4Ooot7XYQSfk+AldUK+Io3lTJV7Lvq+lkXqLcJPYob562gD16pdo95XjagKM4SfxQHhJxFXQSjZwMriuQDZ4dnRvCayK+Cd/JXzyFcHUD41uc/lOSDEgohl6DQGbmqJYRYPiw7M8r82yq5a8m2mA5MFlLTrJ4b4dQg3NNSBVnG26Qf8gSE90Jb5BCQ3IwjYR1CrZ7O2nAO6fBZxS5y6Y7q+arcWac8G4Hl/p9M3LLBNgULNka2LEBYSDcVU4jEOgIhRcNIXDF3qpFreuVNEG4bIBpgZkuzh/3HiZ3taRsXiJ9VYqaKX8af/dGD5qa9HLmkgC0dx2QmO/bAPNm1kNbEzfjtQMJfuprFsExA7F+CuiRvrrz+FLzaBN2qeWaYDRdEZnqiTQJG6kX5tkjija6ODok1Odbn4efVFSwV214B7S5nxQhK64e82aBwkUSFghYkWDr3nprYn/SMTAnw7vgBaq4Dd8ArZg6Pxe1hv+sep6NXT8I9mzpHKZmwwg1ikMZHYZsz1FO7ZmyTvHhdK3fD4arOgQ/UaBkR4AUxIPbWCcP3Kxtm/Tht566uEA+B93jitQwaxXn7Wje9KN5V/GRk5xLa1VP9zGm5YogfGOIuNP59e+KXUdsOiNxW1hOkXBXFWaYaH1hPXCphfnDs8q7de02Z9NDqXg3rhJ2E9LwWSh6gFyIiiLgH9LRKbzcmfxRpfvGdWtnIBPKqaXhzBC/y6CFYru2htQgMAMedA1pBEiTRQ2810oA8a4e8B+VzHcgR4QtWiXIrruf8c+X9ehGZdLoz4mtF2Oamh52+wU+Y8qByE5pTGp6KfURWSOJp+9D7z6xrku390Eat/y2B7J4RT/W8lPXUdCArtd5/Hf2eo11eEOxzk6VPg2R3E+t84HAviQMRTlXgJgPklA05LmsfVeuojfZuecE+vngys/v+ZWb+xvir+wn3td3rNgLBELAcw7jfjZtLo6xPBGQwrEMQQEPtYV7MrX16yQK0vEQg0FvvN1HFpyReWtoN7w002vQq0VpZ2DXiqpP2Y7u0KtZ0anie22Vtec+EwyWp9ta3MIX4SmTvU7g6/kuXkx3Mn8jF5RhxyIcaACzhk/MptWzqXzZsH5k3N0JvMgtUo0bYOvbh5lWwmaXIQNsmWlP4aDRNT2RI4bRueVPQozWBJsJrp4v5A2D1WIuoS8os9U/MdhVcYyn1nGQm8KkvIgsks0jVwgFBFUJGnFr51EqN63r0vDOUk281x+uVQMK7PJHvv5im8y2DOEubBksCcilOeKd2AuZjW8fGpxqrqMoFuSoiXp7A+EQprrtMiaA1j1nbiXyf0Y2Dwtqp9K7wJMOUXNTUdzbmYxN3eLhJWzJukDVTdhnAC1sg0zk7dd4ttDhgWKEjDw1IcqHeHpVKrGfZLXxemkzN1+JCnKpNkBq7012HyosMNHIiCXUh2MJ3EgFrS3eIcG6PPjosuUQuWU7T9R+jzXHjuLQsLaw75EsJ+Nz7QrRZ2dQFxojRXNSv+A+Poed0VZlWzGxVjeGXLAX8zWCkedm9vdQNb6vxHP8JzYwkS7EdqF1+9sK0gOhyBA5CfwD5A8PP2PLvuhYcR04rd1AI1oLr1SP9iauc2lWbtBE7B0joQYyOkXh8VsvfRj/PMdFhcvK5Tjf470criVFOTs0Y51rbohk2NETUxP7G10Sp+P48HUEtlqtldZXMsIwm7BGNrs/C3LmielWQqgCwgw1mZO1D7MlrfDLDrDrb0DhBOGSmzKddl3OuB/vv0MRNwbwnN9kxt2HK4oilXTRJCq8cxIqCSQGOWNkjKdJ0TGwll1qSIg4eDzPnPUiZVyuhLtljI+bn65EqGAAy0zGK1vSoxWILxCv4Hk4z5XH/jVPkvYg9EvssSKt30j0/ew9VmMgBNJAkGdAddI9Pf3OCv9dWd5BUfz6pVtcRyES0VEzkuC+aJWBUt191VXfoaGhI3rUoAcLKPqA7cqtDLX3FPsnQVrp4CX6G8cvEaxLcDr8EeVn9HttY9eoPNG0wZ1wlnB9rebQRGW+YEBXCMTCGIYYbSyBY+ujrerRe7m4Gdicmsz8rtGi3pOD+utL+que2L93WlO8gb0fh+1ma8N9xf+3LagOCYr7ejlC8Dei8VDuaoG2LaRKai81EPTPPDwrnk1fA/CIPdKNw0JHnDgtAUdTYKFDbxDuJGw5oPV9wmYVDnulpK+4WGWPhxwfNwwG/7ur4+k4FP0re5+e+t4pLZz2VVyfuG0Tt+TPz1x1QAkJKj2hKzXvTJawBR2vDlSkz8TlxXLYtXT9dtmbpHMwaiTIwit5NN65mAODdVOEAv282Bx6FstfDyx7mO+SiNIhsjp8vjvuiGbsvm1q67TmlhJ3VtrDni6YXPzmborE/KNlsWkr2utGmq28qOrRMEi+cUJG0Uyt+8kwGNHYk332JTxKbRylPgwdRVqpM/Q2Eugs1o7gOP8oRZxqYrJCZl/pZ5AxZhvD+iY9e0kCWNGizZ941ckN/EdjoXG4EOIGSawvvHBmR+m9IvYbhM8G8+e1LxJnrboZZp9gMMQmwxycuzC5PjHxBz4Haz/VDZhUF8mNGXE/O6iSgntVKBpcsNYhkVgIc0RnorlmKMIuWX+d0ILtetaDpuVCdCq2sjMQlw/Sy7fVcAjE2RrORXOorHGgNixQ/w+cnKQA6uM7JDvKP/KDI3jf4OTGcyxjOkjhhVV+DbOMXWiQ95ye0z53lD8qNd3yxGWiWvJJ2FbEqKNmCwiupLfCedhstefrQ9nOE+Wbee+homoz6ZhrcdKXCW7jUauRdcMkz90pqC66/XmtFuFUBvcKuzQQPHquglqH0jgOuQ99V7XTV+X5z64Yc4gSL6rnOg51XpOmOAojzlYbC0M9S/LAG3g0K8PM3s/zEro3NGbgAOtGrzqcsPyr18WQMJsDfm72EMW2IbiAKLIb+4h5yn/Kgbrc37TAIDNY6V+vM4CfgyiP1KvfEBRb0OExtVtjnhPkzfpO5fpAErlBo+PGb6yrQL3nnqruguMgU4SseH9rXG6HyUnJmRmDA9XObr73neN63rs3pVInrZwwZaonqGemF1Oyox6Wf6t79JjeRPNsOMKPx1tlvJ7ntGSIhFx8yv1TG5lYuynTmk20py2aA+PN1YZVkybSkKVBognpdJqijJ1+16CWJ4Xe3VOM/py/8uSuVU52BqcnEvpVt5z3ST7bYmsurPcccMzyTKqu+gUeUPnua3f8BN4snn8BSfjVtSFiLJmEoHxPW/HnW00sFelWIFOEyHGCRzZO3cfFnkJjdCGMQiRSgNQ+lFW57reARfdm5gqV6I+59uS+YJ1AXGkZXO4qhPjBwJaHSXwtMjCpZTNvOkuKk/D2Ufk6zxUX1kjZFL/5Aj1L2jfI1oZihFD/0IbavYte1QSIC409s8tZPYm7Ax/saJUymnGx9rWowOoz5pA4UcPaRw78jQOl6iXbojUx/VbqJnVOEvbTt7lRL8JaHnhqScW9g2vJNTIMNyFB6WqBFagjOa35htYAyhwafjQDwZyNyEAp8B510Jz58RW3If7QJWjqf7o3YAdQTOdpn86UvPSYGC/JAWHnk0AZSDhjdT6laTshij4agUITCKS0ef0jQSGCiorVjg/67Q5YJVikfhOnFLkPWnDTp+1NZlIupUacYkU15owFGh2zdWh3l8H3jDYYAPDBcY/lpO2jxIcEKJB7Gu7IM+OAnnDNXKPljgoh3blzxx6LiIrCj6FNhuvJlavhVYH7aMu+3ZNmOUBEyjlNwFS0lDtzyITyTL6Pt5RFVLaxHzQDLkbViyX5lDhyqHg5xLLVJuuip+qwjbYyIfCw6xBTINinZg2Jz6PGEEQ0WMRScC4caFStl2N05i20ljghLWXCt+MWg0nDeIySEnljBcMLiG8/HPXQpj+lLR3T42lcvPIgt6W2TnPy72Q/g8TeGrt55y96YIFv7aOkMlvmNg5yyrMEC9NcN28IsogR5fOOR/jsB1c+CY5PAxz5seJ40O/QmLs8XUIEsOWAcfuuLhlZq/zqOuajpbBWbeA/jvdGQrZhVHwP/gNT1u0ViuPWgJPgtDMi3vm3S4fsxh1ptvPMuyhPjjb79APeLIXh34vwb6uJq+/x7hmPvOwwBoMpfHmQoiRgeQpP0Xsw2ZPYeniJPj4PR0pZz30kYxJDd4x5I6kP8xwoWMrnOATImWCKxsrChhckesaiX162ye6rtqcfjoAH6R95OVyr7U4dDJ9EprgdBqffCPCmOkDzE8YymBpC7nYILGymJrZ5Ha+sVRG9u6zf7CAETT1QZWxCSAbpgBp3rV1nWiK6bGnlUETmW8UUpZYcdSgF9Vw7ftWIBwKErduXW79N0/1489MNEwwqQwAtO2dfiOTYHiZzsdsS4uiRa/cB3+ABKswzQwu+BKmhFjDo7/gj3da4TLzo9umyCtEYecIWUPtROErVl1ObhG9Df4v+a7HMKhLJMNcddKFoQWeb6fkX6LFg5/1b2v2afFfTCKhqtkecc4jMEJVba05YaqfYNwspWKJbQhOGO0N2eAyO7hCJYhQSyLLnG/8tOaLhYq2W7KWcpHSQ7oNc0eP+l23A0VdVB5xDemW1cKQFz6Fe92OU5q0j088z5vo9E+bubDJpHvhwfaq9wxoDvzczYCk5y1GHlep0YaYHeJVD4Bd1CWCwkSUeOn7771tJphxH4FjwPaMGHnhV36aU5nYUBgZXt4WrfBA8Jgc5xSXKGAtb25foACpS8GR7hV6Ln9WjyHpu68igDcfpdeDm/w7f1FTl1Tm+SPX7aLboOzDHod1xfh15Od8mNCdOy0igYsztURRH+vrbCNDbNt7P8Um1X5TPfdKwbs9G5pEXnDQRFE/od7Zo0BPqLEASZSr+lg8hdG/ySJE1YS4vVHiuokrhRwOMHCV9GpGl6dty82rCRJ+zBM1+/iLno5iem2YOky27Pkz+wwz/bQ+NHbg/qa9/VQORnlB88uqADhmCgstrgEkTmegJ2shmXFsIFx3reO32pzC7fgR1NPFGOnp3utelzNW5fa+ImvL7JXsjdWf+Yh6W+i1m28Rnl8kkZBddNfDRGIS0nbeZCdEA75Z7VxEZ8xm4l5HUkL20n9TLMeWxzqkg7n/KITOBd5fFVFKsXWWDfJsmSUpFGDRGYuAyTsgwCOpiEV7m573nDpMoxT01KsJu3m9PpoxABYE5CEla+j62Mg6+8lHMGxKbqr1SBNOB6FeG5DanL+YPa3RwjySHO0aYQ9J2z4arZrucxXHxk/Rd6iLEiyrk7FyGDqHrvAdMfE7Z+Hv3eHq1zJv+ZF/YU1xbXmgjdpjIu/Rm0JNdhK7nTkMPaBRKH2zWf/hH6cz2D4snKV4gJZrkUmezIUz5nRl6MPnc6lp2onhUowTkb1Cg3Nr9jcK7up0IOp1HeOa3djSbNQViwmDJaFDEbeeJ4gr47G9Ak/m3ljjsONywQLOB9lD1sOaQ1+HGnogWAY+i4OQqQG2ZTKDqYQicmlnESWB1ipw/rL6eABtfC7Psfxiccg5P9FGHGN037S/2hDyimFzT4axgYUeeAkeUBEjYpcZRHQUc0aULU6DDoEQT39iZuWUsQDNfj4CbYccz5xSzeRcjxdo70lnHg9fsenqGm74hfgC2PFdWyT6BeTxQmd2HgdmmuWWe4dp1oiGjr5hK8qXD3i63TwU4AFwZ/+74c9Dx+Hl99fuqJVf0qt47hKx2YSeEA8iQvdGM2fpY8K2Wg/0YBaTLcSqv67TMH1+h/o7t/1ZBQaUrq1B+bfAO3rzz0XQwzQ1gnxY2fU6pfCmsZ+hpAbClSPIfqQ9JunnPuGnIItZeDQSEWPafoglrZy3zYcNPX4u0PMqGXhNY4irX1Ys53nK36yy5mSzvakVmO+iyoCPxzfVRDgZ/mQ1UgAH6BveCG1SxfV5Glw5U5+ll/SevoVzCpSLL5I26Rd4x2+TmB8wtRqT7ex3Z8A/dcAY1ZMjcpKmN2oaJCAhDqwX51Xegr1Tin7dvs2nyyXyrthQZd/KV08dClxsbMxuujt0JFk2bt2SkrQGBaaUzH1zYEkGhCOZMYqhKKIkqr9tIDxSzhgyjhLq6Jz+lot7H8DspF8m1bhPPSXvCKlMsHTtQVFrdunuplnWjvopdgvyKCaMCpKibweGDOFRoVJ/kKYzAsdz52WEaB9gbjYZxIPfS8yw/YDlEUNnC8tVwROAerWfePeJrTG9PRwVHsLQzru0Bi6ppzs0RpR5fiZj7LXyR4HURTYJiFigw6rAjtyAcYhCmz30wTQ+WxefPQ2NXVKeSb2nhmZ6MpoO0rLCbfW932/MCq4xobfnYZZ+JRD2TF9lsO5WYmZA2Yfv12/2QFsHK5FRtF2o+4K7jR//vtwe0m6cBU562nUkn1VOS2wLJtIvPpDApiJpnZp4Gyp2mQsWsk4taELH4r4/E0nPXCkch06PUcZe7KNq3SFeeHPrlCp07EOEvUlYW1qPlQW0R/yx2imrS9m5zrmY2YIsAQzpp30mKgNfLw0e2wzVLHNQs0R+Mfsnyl0HNR1MWsBympfrddWah3g6jSjZ5Gastv+BEL+Jjks5lYW/U3Ou/B9y1R1DXSOeO7PSfKToHQmeX04D8WUgAvAoR4W3mLfPTi5ULJgvG8C4Tg6DV31XfCnCFb0KNhn51e5Wi9GfhsvCb1GBuuV3cvXNEqPOQPhr2BpxuaJoEGje5XkzLzDns3S6XR6xRIMiCEsYUzVSABOqsqosvxkYRqFIMrpm9zwhftRKzhu9tfRKGFaDLcluiulKPjnjFKBuNlKQCwoO0jFCWmjSIGdb2MhkXKDRgfHuyZZvfNZxvXWnjclTCISuVEvUnkzgNL9vG9dP3qS1eDNLh+7Je7TAM744pHUVUSPiBITcxer1sv0J6eGYJ9Q6sglCKfo+ToAamE9X77fToTktZqbk9qmM0WwmfsLHswJ38US2p5DpVKrqh8JadmJbJ/mcT0y07qgMYfohHysX7jG9xjT5g+rMeLOsSu41i9I3FryppKcHtXioWJNM6jtUVQyfT9nPm/NEClUCgwNLo6HIAlyDf3w54wbRj73O0Z6xhUeX7oyznwfgn3TYqPea162EHree+7nsrzFFxpvCNZSiBehQ85CUBPEisKMEDl19EccAWlhPSsUnS+vZBO5UNEoFGrF2osR/szmFSKjGDPNhbHwdXHiv02PNDfUaSflqJdwR0BbckgzLFFlGF6WkNMOkqb3tWkGBWOTAa67Wi+0Qzn7qR9Sb/0aLM7K+RKTgchErasq+wxCFAFRwrpqp/LlKd7XbS2w6isyKRzLMkGqGb5QrE52LnkBSppOFX9UHs3p87/tPp5EQbbxqFKsxj42LB13QoauT2/aKOCgMNQzQAOxi+Q/PPDaZD0th61n6Hm6rz0lO6aepvLn5jPthA2ooFUXSbMxwTOFd0keZ5TIBB5VihK2kg7qGgSdo3x46H91K1z4FbJRAQXOUSFPP3TU6RxCIhYF3jqCuuAgxAUbz3N/Tmo42lZ6CPN02gcE17/xeaF6tyW7bSJFsN20ZnFu/4px8OpzXLIzTZ8YCxB6Q3K/TZ+OgvEvGCCVtsjiEhlF6mcXNS6J2yfggk3I/BMTW5gRPYCmuH4KPo+dAsQkvWw6flZrs++cXqOJNyHlcqYeMLHV4mQIcJ9VyMFBxhzLa2GtJuIT1zHFAMMcnadWEj6okq1bKywz+XH21bX1XbnPF98t5vUwlamtHKPzw3JhxUHDJvCT8Vnbr8xzbesKbye0eyvfUqHJn6c/sXRHQ2IKUzf/5lziSlBl7mB3koN8i/FcjEquAahnXiKgYkfzfUZq+cJoBLTiByRoj4xEEw8oHhALGlISwCVJdNqn4DfwmPCWQCTwRLSQbdVozWDLjhrGwbrEXqRcDNnEMJ89FK9OoIH4KBSPmeMPFPk7ZwrCYLZDYQvjnHbI6leW6JW7uLHZ8bfMGcB/xuAwpCDQz0bE4t3VivdV4umm3JtkjCWbnzoeCFMJjM8ZjV5hC5F0aDDMA+/1vza3E0vTex8JM0OJD0B9b3icLaeDAMnVbBz57CHW7JENzEzRgkus97VStgcOVhG1rSnVQAeHhBvopDafUHqv/oEZV7tTsIJlsKXLp0zpl4t/4z+sYe6gD+AJY6KLJ/TS02Qx/dT6QOep+DtjWkfYlalJe1ROZTipVaNO8HobJotLyIpBNkfM2VQjwungdrTZIeLWygMwg4pp8PMMCz8wSIVG8eokbFFfLiPW5EMNX2wgW/TFg5U9JYhzHegD2GKW4sJhZDlceoJaPmPzs9WRiGDzx1dGydr6l66C4KBT4DqnNPbvkiZW5JQFOcb4tD4l6K2Etk4C+7UyBTgcYzhUS5P551q+vcavL7Bk7ngC2eTv+d+zBZY5yPa48gMUO1ykCdDHKlP7MDcy+gk6YOS5FupfDMNcuMG6UXzPO/qDeSeHVdFKU0G1kFsULqUcDLhtNihovdxKN8V7aLGPcZT+bbRwfAPhA2Cgoo46MVYgBy5toEFFgEC8oG2GJiHW5IZ30nt7zas7VyUvQXvacPYi7gwXTBlZHJNWDajD68rg5KEPy1cEQg3VzFjKgPCV+OoQH4kJ8TEy3rsCHP3MxvqU09c4q438WKloFn00UtGZozVPn9gqypQZy1xmktgqyOzQd4aQhvVzGx+L63mll2teZoH5xsIsTRwsmscV5PSkgjHpjt4LCTKcIvlzXsCdAZJftZFXZoCAUUqxhfq75XDnt4uyKB12uNjREiZ4+zCnf4U0K9p2TW7fURvWVBu7772nuwvp5ZyUL502v5Q8WazjoRXNANqS0ZPT1fR5R/Ru00OlDhv0WEQPfBeVhauCyzPG2L7PH0WjI8J/GErXmtH0b2B5nM+sZ1Mj2321WeqDYEzGoebnNwdbtM4HvK3au9i7V+k4wMVl99oaCt/wNRMeC5yQ1lpL1WRfewoMBrLBlJy0QQCtKNKoGyTMK0ehtvyytkDIinfhzb+KisZvXq2rKWwr2zMysPvIV2mrnuyhRDGrWlccL0cfcSzNjpAmjr1r8ie4zhREbRCTOiBN7xB7oSpqxfyDbVSc2zzeFxDVO0EZeoz/rfCWysvRuF1ASsu0wZckv97wTbvR7GfUmDzo58WH73NntJQH+Ox7S24QZ3Oxr7qsL+eM0RtUkG0D554lPGxSpUUBTC1drKJtLmDHcbe8dAb6HKEdZfs013KcKHWBFv8rXD1GwpRO3Hdkij0l2mDSK3aoTUQBaNe3aAKg+6kvm7JRq44kc+Na3Q/+8MZQd0lpDkAI4fqilcq/YPBbJrEg9ZdiqbgfXii3HQ8133Ym8nKK4mq2ceRAuSd07fjhmQ+c0+Txkt2ke3KrkYASsYz1/6pciUNCNy8rpaHZW0Ik4xl3g97d3YyGMWY3GHNw36IrDe4YGm9HU3eash0ker9d9w8xksjrECyknm66iISCcWmMmWE6/3CTCAxSyHU9JVEstrBmTxRbrfNoS9kA+XTvW+c24NYoNhBOoMIoQEnizL1nVehEbyEzcpcfTuJnSizFteen6Y+XqqV7QDx8hV4I/ny+WFswj6J0dMsNz1OQQ/AzA9n8RTCjRGosmS3dmy8zIISqqMOthTmq+b61cCK/x7GRDEQWHSKqG+yocSSa4DW1rcvGyJH+zrkS9v0mBD4lIAXSndJ0eq/+A+yicHMo6Fzkw3vw6ElyMsHdqz608c9jq8LA5rkI+2SJVWXpVcSsQVvv80PUivtrmYyHKgzFKgYuuEM5BselGP6kKuIaWY0xZ0Z8ZCBEvAtPuRDxkW6BRlurK1kHkrx2lRT2d8vYwWpiqSPozQeMSBYmntcYm/ghZYTidEBjyqi1cIvEXSxjjKf0rE7RiIGWFSDOU+/rDI4KLa3lPhHVF13aCovDilo0/mNZhU1tkCP7XgKbeg4eGXHKWQe1vXB3lhHVWmwOu/Dxpwb6wDkPmDen3EUm4GtG5upXFWA17E3pgdP8Vkg5iOjqSKJY19Bya0vIQt9GdehXgMVtZp6B2AhQaLXBZjAXODx2U9XrBC6feIAq4jggdTr3tBPwQSAheMgLg4OafFTJeAcUQrw53wT2H/I27w+UhrdvPjz5VR14AxxApx/IfC5mRCbL2EGUxqdhWLY2B/2zxUDmv9nckYwdlKora+tz7yLJc03Cx6ai7917iTTqOvQ+kD0E2M+bi9Ynj1YNjlOpp1Kw8nJi6HISZGjvoVAoii+KwqmFrXKUM9XDF8AlRfhyE7O8wXTPbZSh7qFGAKI9leH3p3Zbm7GgxgRVfWXdYPLruuVVLq6w9ZQFv+Z9lpwjhZ2LFhmomJrG1+VgeZ1+CV7azxPaajBsmr3u5FoENfy8MuN2pIR510fSGkRyoXnxaWVz7mYQrzEMiP9VA6tKUq1ncHYtCujipE8UCU94pzMlhAjXNtFtHKL3YVu2e3R+gqpDUwOBza5deVPmB7Dd4dzdRrHLAE5ZDBIc8u6YNa7BSpLzIRXdRTa1Aiazy++QlpTreKGaeoTSxr4lkggvGBM3hr2B3PzFOo5i1Za04vuLeYhwBfrQSnFNH9YXhE7RR7QxqH3PxWhU8g32nHQUGSZoPZQH+eA8HTkDkmLtN4a2Zkdu9HYYC3uidVu7fNUTI9KQ6PtcdE//jC7oOU7rvypRdT+2JPmcwbz2xwaf8m+lYoQ5AIAtTjAGdw4KI/qHM3Gkafdy3UoI/u8UpQbfjWo44mx/DG0gbmTZDv/RgnJnpsZftwR5CawqBCozIBMQPu3m0LOZslAHrUxVpsdrpXnhViPPLaFavYLHKh2PjV9ktA4NRWg3WkspRlu20W3ENNYW+cAZTIvAiSaROlBc3twFNPmekIWkTqFX9vNR39CqHFrjCZlahc2yLmUxsgsGDE13aAuUMSocA76SGgP2idI/5xtIl39RqL4AZNjhJl8IcdbKsoVDTOX7513HLttpkqSPcXG47DSNCg9pnBD92R374htIaCCtVtGpPMpKnZ3d3/YNAJLTbuVLQud5uMr2yFeQYS7N82yhhbZr2j1LbpWwGYLV565g3yMMVy1f+scRrKwti3Y046C9iN5uSsOpf3H2BM3yaCfJbW4Ray88aRZN0YzXxxpugBUlG/5wqC4+FhFomWgLIffeJTIPeSeyTr95dESNf66yW/ZOjjd3sRHKHlv8ffA77QNuLtDTI79twjJxT+uaeiz414jws9xJPIqxUhh9fUHx4dFeJrEhcaO3rUlhNs7YsRE//UjkVR7JFxsrIsX0rHAuEs7f68mZOesvKYffNux/L7F6QuaDyDIY4eBwTQy26WvPTIJmKeOdqy8EaMr4QK9kfD/uU0YtT2iZ3Gx1NLQSWEV8i9Ls+t72+AaavCjK7PgmXOXOrvO2qByBvkd6GkQyo9MaPjQqfqYKhmThA1em3RPtdAjdSP1OdLlrO2tSwzPdsYk1hjOqvyaOUv+2B9kv+lU3gxHektHgpk0KdHahW9iBRdnXimTjrmN5ytHMHESfU1DCTK4Phy2oRDkCfXoP2QR3fYn4a5h0BlXi6H4zsIl+fbZbMQ/xRT1A6ziIKPZRaEQESWFy1l2z1s63PHyq77EZaXq8XKjSCoLkFiJXfRV5Yf2U6e7Jy9JZikAlUHdRFVivHN3fnsSMU2fpccOglS2D8Rgg/4jWsU0kpld4y8fRK6PXTWNMXjrR5bv+GasEmShJcmVhtLEVye8tjrjy2BhOywo/pFaahqwLEWC7645E9kQW2DyLQCUhviTstRfGoQrC+7ERkNqE5TkPIhPnRtOqvFDbVrTSYVkcYxLjD+RDSiyO8ldCDbU9s0WErEFvxwtwITSO4jvyaw9aHnEDN9RhfvEozZZcUAlJBLbFwXoi/kr1UgPmb12kS2HZ0v95HEDh/l7IQdwcrtqAypGwMyuDFmnolQv/CyzfemUVhriMAfrY2pACoR3jPk8NlycH1GDCGSId/tbILNvvyRZX6bfetaMiXuMPRJ7eFFyndlWZAAd4Q71p/yP3eWxUUr5t2hWoFMDsMahXz4OLokA7ZI6A0ypVtauyKztlRp3CJOukqUmpV3X+uVYLGZjq2fvK/4lKb4eq2+B8UnFCoyLB/o/OIWpEkoiqpWUE6F2DK36Rq970zV/pKhDMXwIwPF8XV/Wpcdmy+JpQxDxZNg+AB5hoyUrwr/4vJV3dYKHCnVjECQ5mvwFWSEA3ZguBZfFic0tUVmuIAFzHZLAZbVXZzq0tuxhYmgKiUHckxfuizjDT9lzGGI17M9miyc9Hs4yogVQXWeD7BOpoaRa7yhp6ut48tGklSmIsD0VB/KBUdbkly+xEAtacUs06jZVDjttNe9bAYcamTbNP5r4EyBxP6d8nOM6AXBeDWT2xSNH9VGJf3Me6mCuCuS9+kOat2Jv/rRYEMyhX+ZlvV+SxOHX/hnuGZDWE3jD13dx8U/ThBeLRM5ds5T85lvRpiuEuEX8IQM4KIjsG2b/riTPYzuuYXrHtlY7841wl/QayDEq6vqSsL+eMOHHTOa2U1siIEqbyuXgcBRY2nPMjB1XvjDjHqpgOKYaQqSMFZHTGl19lKiMk5ZUqgXCIqtjjUOM3Jli9sF3vxbhTGZANsy4mUIk8YLYxX6lNxfeeL7CRbl4DZcUjWaH57G0eWUCl7yZYmIOAWihxZuYRcA2Zwqbw/uK6eCv0ugRn96WvQ7v7YNWflu9qPMrhy/OWavO6FvVKa2cCafbJpQ588jtDemoFFyKeb4pAjUIoZh/qT8kdfoKUIEoA85lYdnUXDBl8wiONPH0clS8mcWQHFVdeBoTKyB8DLfzMSHq7x6Oki0PJqH0B/Y1NE6z5qQWoYPAiiReTYzKKk27FYcB9fG87RyyqLmst5JuxqqYiF/l6sFZmGUYs/UPxnFTHxLQRzKaToauXqkcSBJIAfC9iuuvo8w9F6GxAW4kmkzU9zNm1aYp2raC0D4jXfILIaSDoQsuEtL99YMVHofQGvqcZJ91rgYNA+HmnziQJo7FhzxyZtpU79ysXwU8vcZ0nzbq3U42FFspjr6KRxJLj7dP8QmUrhgyNP2EcLI2m5WTAPQMWGB/MhSliWTxdSo8fMY1mBC/1YidLqbKiqz4adN4diN7PZ3vDd/qbg7ql6dbl0RRTaZhkHKoli8vsidWH9ncxoWP1UD8JCAPxVRcTebNsCva1H9QhPm/rjg/OjYCZtY+NmmKbCJGg+5EKxcX5k6L5LwCEU5soonn38Bla8r5FXfRzMG8hOcKc3PoShI1Vwag6uJpkbtWUE/jRHizoKhxQduDHeMB3ShStM196g4wffDvq0hdsNYDGVNfqMwBrmygbIBAOWPcRVHlDf2crrOLRdi9wOSiHyCSDfuEZQ+kvgWzx2coXuUosadCLxEdV9BcIRUBH/SJP9wIaJ+jSBsvHAYQGct2M15Iz7Omgb35JUbd3U3LyVwB52F3GG/yUrXnloRseVwH4OMDpt8+PFlL/04RkCLIxkdesWOTNYKt1ZbuJcwlcmj7aKNWfIn0cWZg507l/6P5n0Wtrdv9QyXKMPgsyz0bUvN3A4ARVbUarKrTH4kdd+X/oQMlodlMTQsYTzwFAUbSvsKUDHUkvelP4WN9VLt8zN6ECUHK763sNoGeRbLkKcwURdfifOJHGo+ZtsUkFxCnASYgV7VEnofGrcu9ULYDfqtg4ZsM2fZ3dczwq7XeaeXiCcNudEQEJPE2M4MZvJSzO9tiLMWLXyaOnZ1G2ZJQ3YMAubB9EqOc3CCTrnXqNzE1oIBKX41VeWx28Ogx030JjtAsn4Xnmu70MITxjnGK1KgnTO/iwklCFvC+myfD5jXnILnVDwk6r1DCjQy1Q2uTmEaVqIPiaGfJJUqRCcCpLJ6Th3pR2V0ZjcJ5bgrVxj+8AhndNaG5dttDAMoUyKw01QOq64jAzuPz0m57UK6ikBY/mr7x6CHpbig3G4xeRdYqul6WQJpQJWXq7iR4b+ip2mP8tdf4vDmtFStkOR4sYjFA8nyuQe9DmSoaqSqKumJFsRlgR5nh4yRc0+tpmt1eGu1k5kbmHjcqyKm6aV+ZJhoPWRevC+k/tMBocTwMeRsvyayszwdQ/LtbxKmYADY0EtwijULkdNqN2izM1/CYEhQaQ7weIoK5vh8SiWFZ2zFkuBmTCQJtJPyUMCpvLNzBbTm1KCRfD7rknRu9qDMP4H5kwQ3gRbEfWVh03ldVVpa4x7a0xTOgSMuTJj1XkNTxoFuIqOYkivbIvnrvJDafzeL6LCAnhBSYqusKaXs0XhhDA8uQ9BbxIopmkWwUVM0yg0wuFwet6jFI2qNHoRYf4dlaY4hb4iD4cXGEbmRFTJOsSvobuFLRRhO5bWqRJ2WSpV5Lec5rdNFd3iTE1yKOJ2ErnmIkOX5tGzxWuAvWYMWpuK5+xIlezizGHYBN/fNSO5bpHu/BDovDOJkBHres439WP/MLJvK0i2SHdVXdxXpwVccqchqzBNV34W1rXRt7B/tmrZWlTJGjOZwymRc2aFag2tVrH5ZRTUE1Kby2ZTtL5L42yK0sXWqvw2Dr1f1QmLJ+yASfWtoNrtGByYSARJSD3wloUFZpr3ycWLQZ65cc4f4aNStqn5/pA6crhsdz5PIGyhCpSgGBE149LlWeKfpcxe8XZcHEm5BhmCXxcCm/NA3IneYE6JeTC9GPnC7+iuVi/x82HH75ObgDFSZZ3q9DPcZnXbOpEnHnRHmIpb1q9jLCbCXQnGxNwnuYAQjkzx3GEtyJCca+4RiuITgt04tXcV4J6vfnlcwj63l1L6ztPhGjS3cqs4rvC1ZySYUXJZRZBIBMsl3TR4xpRpdtCyxJtT9eiytC1j7BtcjJQecAT2Rj7ejZ8UvdMhnm0H47SqEClPrijqalYrEIyG0C4LdtdI6E+8VPAkzW/lbgxUb5XJUv4MELXmUsFpjkUFcZ6ePEX3h/67OxtamN8PpuTNFIao6vsHB/LY6APzKANVIJAdKUTDWQ9Rw2jWN2aqguhtHH0tUfrjbqPJheYXSWZoqa5so8dcHXPIISvg/+JkNTQHJp1wu001MdWz1wPigBWbIy1RXmDcecWS9ThsYHmwiPagtgUREHo6gdISZxtenDRROwIrVG1ZwIDmFWVjAWmI41VSvgM2BB+MVEd2SJkS1D8rTOWoi76t7v6snlVJS1a435J8HRcvu8x0UxodOCGpqtcpshP6MGahwRxdA9sOikc13i1s01bo7oZwbS8aXpK4YiRZez2bwUAdzC/AWQElHqV4/k5NGjkHeztihIqD7OvEnqyy70cqKzkOr9fW8c+NQRCU4PZbhuHTecy/nolY5OrMZyoXSKXDHafbEy7tEhp9FksLkEs2n1KoJn8d4/mPHKgAVyd+2bOvX/AEluQBhtGXnigrerVMgYXHAlBcvMZeRVFGLRT6f/iSvZvgMjIsfx8BZ3LUqq9z8iACTY1ARONdrAaGc+kUHrGicQq0qplKlojyHMaYDE2Xl2zfnkD/562tOLNUEDQjEjsWsliz8VL0ebLL90E0WOMjeHUfnqUb+OGGH4w6JaR03AfA/n9VpSSG4k6iE4ltt5/HjiHk9tzJeePwbBModXJwJOD35X7hH9Ip/E9bWlyY8rcdR/S9fyK9GMhHFZM1SEBXOL97Pno9RUE5iPTtt/BV5jao2Pe6HHmOtBANc70Vd1Dn4CuuQIW+QqkmuL38Cu6PdcUb44+aB1F97ETIhNOl72Cv6OuB97iD+Om68uabsljp6aZVclov2zofRULUUit8zxdNV+m2+gPN9ixCV4wfSW0hr+Y+tbDo1mbxH/W/K2TQrztL2jcsef8MDfW1HxOStKp4sMdofLBRnVXl8zfvOZkMV0uyQNuMe1X+I1LwCVQngl9K7o8C4IqAPMuWbUdWNeARQuaEXWnTdXxfxeTkwoqZox+kscgPD7XLx9tls5TRRIU83J/NWuvcHgMNpXy/Oqnw+xwiU2OI4SpIr72r/FZmZLGczhKBOQLbsf1yZAWRsTZjWuEMrZhacBFIkjwl3cWOwawbZUseI15G3yAkZ5yyffPkGEYZvmpyTv4joAvb63OYI1LokXLxlXtI3e03aP4LjNDOBxxr0H8IXsXtcA6WgsllbIG4QoFilt/qbCycUmU4HWez60iDo857QXVtHgdYJkaohVdSE8PSkQKdLLy9r5375bDFhxNR6/vK1U/IokFjN8SD0dOY81MFn+zpjN3EwUP5vK28gQbmSdfgS+LBm9Y5Mq9iWJb0RIIFrKH6HkOFnZg0+dVTOAksAM+DcMW9aHfp2qcekxDmBbNl/sMQn7AwXl7xjG7LZi6OjoqkXxsHIH9DIpdG5MNlwJGailyALkZH0+kstpcLOMz3QSJpNrHUdFswQ4mNyNkzG7pp2Rf9PwG0JEVjao/ybHpF+VB/QkHVaLY1hDl50eT1yzByvGK90RkrREY9WYsd+TbeyPi4cvyIWSNe3vcFU2NNDN7WkYEHVlZoVyAa09BG2PiI+Wrh+BFyjarILdCOu7lJZDmG0RK5gYqLvTA/J61mIgidWNbQWiVaYA9yzaeu5misjIQ9C9yv+hyka1PhMcwTZORdIuXEpxMxTpj4d9qO/rA2fEH7Ot3wxG5ic/J2Zox8LFmmztd9u42Me0Xn7cjO4qsYi7+ggbYbnEuDCt7hBI6D1qmsa5V9lgUlgWdvB2EQcR3kf3uZ+Or5wRoU+3V0feghgyAVd4/H/oQW6m1iXTSWA1rq6tJvETFRQW+1798RpS52j8sz0aQiXocQ30Czv9dksbQ85shIjy9HF1Utlb/b/9W2SEMd3YdjthXijO6ZR3v6Wf9BaploSqj5nXjQge/ptOro7Wdg2gRnq+U87HD4khmj6WDRX/ecn40SNGbls0GX8X6kXnH1bF1hnrusvzqUnEwNkHyVjqt6LxSav+CnAwyYgmVarGFoSN1xJ6TzI62Jwio0mxv9KReaNGanz1QwwAIKtYUGNQWJVuAtKnjHAQSbC6SG7gPsN0Ps0bx/McMbxRqAkRLwELQX3UUZJy1MC0xBnpD0JJRjt2sh5+YjYMsQtUaBKyTz5YHw07FbU5hrqYAI9fszF9obuNPhUbk8+bPyS+2tdWhcnodHcCUSVKVE4cXYEqwjpwvH7l7E7aiDSpQ+zojvvml748shMNdnADu9OtcPM2ByVafc1gXnjbUxKBxU8Slew4dlABQkc2qignyPjDOHSme3cQuJVwtsx8Pl9NctZt0XCZ80c6CJCQYbikTYCbIOPkCFcCCN0tFBWhUrSf+BlkEGD75wWz/hWpXmfS4zNBNLT7n8u7HbCWtirTVlBJXKOIzdj7kXTdXAKH1sg3M0Ago7y8KsPn+tUrVsp8L9VOUFwInGHE+o8SHvfthGga1XrQcJdBVAe+4o3EHNhuNSWFk/euAJViHn7ZpihdOQmRBpT17yhpZLQmWmxE0VK2LZQ6k+ZZ1Yy3RZHz7rdPfLsMar5BqtE2uhj/Tyi+yxHO2W1WIEBLqPYdnNkDW8RwZ4U/1PXp0bcwtE321Dds2ujRH3x0Vqd3/Yy7e+8nhw9tejFvNaU3jxehxGay3qG+rCG1l/YTz0MQgf6UrxkHUakp7h/JjZZth5ELQs4KnhmARZCEk+qMY6v4SPN20Yvg8YZU8Epj/a72hXzA0BNmRT5GZWtCUHXp282bKp4hK2HD9aQ+y0t0rdrzo6oLndbAd2a2KoMR5tIAD3ZN4KztEf3ThLQGl2IFE8dooelxK0eNKPuQhvcfCgR8ALjhCK/+z2jxHMNoDUh+dJKw5joeL29DljVjkC/R6D2WZYpkRZbzbtQ3CXC2DMcVvPPM/R6qW99DVlYx02DyaAY6xi0T4tXsFvXXvCX2NWaFrVKNOkVejqiyEjlXuHwooLCBbWmY233TGWI5gUVHVzg0ke2qGo4a3bFrnPww7zUIXg884W3MaflrRet1DNFZOtcRkFhss8G19n+7FvcA0JtBhaRwyWR+hjxX/0KBei5Q2e1M/ZGYN9czq63Ktf9j5Y0uQdtD8ULy++V6i9/ZRBis3JakPrXcRYyctCXMUmuF4v5i48Y0PO9VqanIf9pPSiimvPFDIfhXs/JG2QYf8CKcoBeydg2Lznd5A0CfQIDhGxv65fKu2pD8QldOc0NhDe5xQQnheTfXdGPzY17A+XHA6bbllybUVKc2mr30ak9od99vFz9dZ2tiQyZeOeOOnvWp+dqcEiuH2Lsawt72yAxqJ2g9sb0Pc7S8t5RMTaeKNZ8PU4tL7JsCV+koBR9HnBjXn8npfuoMOuei789fFNyAgkgX7DmQ2wBB+PcyuKWE+C2MCCaCVEbby9DBeyeJF2OnG22qfiN/5pMTszMm3UZbPj+0f8Y2w0fuY1QH5ExtenPJkXzKzCqsJu/CZ0y+YAKSSxjX6xoP2NmWA3Uzvfpd1ee6q2z+gUUBWDerWVRfcpZrqxngIsrw8hg8gfYXPI+f5GHTLrSE9JrAo8rU/98aeFKNq7vIamPgU8+bDoDoVmHo8dFn8Qm17xb9rIwDRbnpYsvenG/8nBo2hcAXHPp89rM5VgSBGzgBHi3C+8SRBLij4yUCInLue1xpaD1fIXgihOtMWaEXtzOI8yDmqFs5li+7irqzPLMwBUIKzD+MqGT+uagMVq8IY36is+eM9hDMWpOzR2ubetNGHZo5yX1O6JnXCzOayTjUG+gVdEI89ot27o5xH8Cy1Uq09i0cdDbq2v2wSfFFvLMKJBWxTMRnh6O0ER9gTRO5LpYbgsMTMi/xXAYRn9Mc4JGWGsNsDeqbIgcdgW/ISe1C8oDONrSOajV/D5V9tHKKHlLSV/vEp/zmRnWmQ/tF4oKdfW5YRL6Z1PXBjxoVtkDQ8Z+cPtfvvHMVxo2FflahlNLeaX5Qcvnpy5UfiXjqtE6xsbrZXa0yq9NnZW6wfvbJQd1BsNxh1NODYsZNLn6KpAi8QYxinqXhiqC6kq2U4O54dJ69iTF7M/LdfRbkSo8n06qMryp19N+8VY84O3yGgYOOnAcmqrVDOJdPWlK4YMj4hV7tqbyITO929frkEL8UiAHC0ZT7io7T2ggkGWgF+RO2T4MLAoFTnxd0itlCwOMNjo5LKzNYPTv7iOHrdMElfbDl6HoMCSOf5aN5DxWodSd7alnWGKb1xpv5mykemD4CGZpS36gbnTvKtFF2+N1D+3EF2tCooJ5uRJB8CJJ1NNjHnMS9nxpiI78c/9CiCcuCXFrvYJu3NZ5b3uQzBFp/anb8wH4/CEENc5/mEbEid2OO8HGnUWeHXv6U6R9bFiEEqj9yOvpP2UPUfgutS1RAB98EFj1d7ysmG+gKdVXq3Wr1Ylw2wB7qvNLG7eBYT43zcLYF6U2cbnBWZBiyAbLYwPasqicE93E7hshyVGWdb28JZ+EyS5RwU6Ac5Tt0WcjYsOXK/istg/a3n9QG0TNEX/v9WmmT+nTQfAisqTReR8QfsRZ7QyI+3SXe7Ky5KYU9+bAHeXH9rzYVF5Gg0SfbDP3lT3LJSpdzWsuGmUTOoeC1LhhEYCXK7CRVuwInCOgdE0JyJNeN4Kq8pl1BZHzgnXoTq4q5+dRl1zCbHqNA5miO8ei283kYJ3WPtfYF1cID6HazXct5bXnwjM5Ey31jtgslVDv8oHy01RkEAv9h3bvwHt8wOCAOxxsCEnZUKJLgvuY/ab7k46GDzVqff4JxtpP3RibE6MmZ1sQXwXp7ksikbBCw/6M/uIZgL1fiphOvBYyPMG0w6nAuBtHxoXJZ9MAfy8jZOOFp8qriyuI90Jp7FsfZpVUYEhS0Of6BhecDQIImRyhYmMPgn3a07Xd2OXJYM13ZVO6cyBMmnPOcaN9Q/Ov6inB0AxCq7n53hPI7yo6LZnccAqKKgk0ESUhzDQZH5DOocJMjx6ZZmunTNPiilDvQuzPYynemhiqI25Xx+DHTaZnbqi8am8lP4Vvc9P/7lGpm44y9pNZ0k4/3LcQjKK4P8QbhWxVTKU0w6WbUy2ufHJejmfrp1sjedevNcynrKdSm/hIeSQ7pywRhSUe+eDWcnPNCqzXEsdUWQxLpxqhHto93mDpdBxlr3m9BS8oiHVUKIKZgQKa28TDEKEzbyl2teDLwMNYEZ2AmPYZbDBKBlMVJpbmXISdXDG3s7hDMeeuaqr9dwPCLSn9qLiUafO0zIM7vOfJwwxuAS+6KXtkVgZ+JIvUxjG/4ADPeRfNj604uS078MZhcfH0o5ROj27rR3fDYSl9Xh4AyLeg2SBvoi5XtFmIXgPIRVPePhqg7wN5k+Mt1GLDJkWKpxXk0Q99XsAvBx4GEMmAH4xYlqLhJQoDnZRtg62PfkbmfcpzFFEW7ftaMG3tsBzXC39GKjsK64lndLtXrgmbkB9UCWp2MGSAFIwtwBgDDdFVQFyE/mCKE+msD2hyPUxeYJZZNYo0sEBX0K0wLRzD0aK82SeiNOcJGiA5GoMm73drFUuoy6ECjW9zrQRT42GfFIaZdSZEjVctPRbLu/KrsebHyFFObx5VdFV0T/4ZRsBwvhtz8kX2/SHsBwFr79c0cMT4BbaOIyPIbaYKqFFS+r/P5SiATFXHpzpSstxUqCqwCgeB8YfhYqQiV5aHXQ0TY+LIiUVTAUrBioHIrXbdi9VYyoTnoz3Dfu34zOLHTtrbf5LXQBiRs0lkINI92eXx2UmpS7R8g13/IOiwm2dxBtkjjaNzCHn01yxbTYHLSjT8igZ5092kJL3mM9gFlBau5WHiIBVLw6e3NbjIUouiwBtJLP43szMeylwvYYtiIGO/7QF9+5AClwTDeS10X2S7TgDzTrQGeMCVm/OjLf450yJhiIxYpQJmuhWuaeI2Cu4mmtq3EtJYmTtnja63ULiwyGGJw7ULy6xDKPz0BX4Ly8yHL9H2CEr62v+S4zt87Uhhj5vwlrqaqxIq/XauaCLeSu0I08yxpIulE7ofP3DFcXdHaRMIJUCSezu6c9VmtnrO0tWKjewd+FpMkfg264+1mgONDy1Fcj9BAhIHC1ZR0WlrLWNJQs4d5VYkD0SZUKqASqOyBEL5a/CZtC3PknvvSSsKHl7242+MCqpfNafX0lm/u/rj7DtZfcEFr9KT/wjirdkYsMh0tRfnUOlUXreHIgVoDgNjL+qk9QyHMf1wI9i2iJ3fsc0ngdjRp1IosKw/7syLn47vWbw5t7LeTmhu9LnOal+4+awLWyo8lrfCaem24IsmUxszaD/605N8iJwkRKgMH9bhpYU+m9PmEcPBVg1wj3WdZFgEs8WRlJ8DC5rnKzwQP2lrYEc+H5NGuRQCDzZnqsNMp0Kk4MkQ3iJ4LSlpnopIseP/5jeVDOIv52R/kj5OjoKq8eejahq8+8aJ4ENDJmtP85nMlkMc/Hy5z+QWHR/Um4IwFhw3LWKBMARp6wLh5qZB9QlcLj5fgk9H6etpy+oFK4ub/9Rl8JV2TSM5+272X38f2aCbEiD0VHnMM6TxHPlL8NoJCZQnr7MeLhHJyhdy8phANB1CNHW0gH2WLgQROts9QMLxK99sm5ExRMgmti2vxa6RQ59b45idyoQEGjnRoShUE+KuseZ10YScfFE4zDpmM38p2YKdWivYrQL0RjNWDkZADyNI0yAvlLutoX1jP9vnyOVQ3dr3E0G5Lb5kj9JovwHoAOzTlWxYWjdjaqmf4bz+iuzLBeOV8Zc3muehF2C8Y02TCyPkydi+oe5qI2elUkTGbTpuM5NO9oeAiuWM6yzPFRnou4rBcZFCw2QAgF7R1/FrRdy3x/ObklsxruPO+OKwQia1ao5Yo7l3xwyn27TcKsjPkVoiootyR8d2iPf3+wV94AwKxqsL877jHFekICKPqjWGs/XIE8/YTNFBlH9x2Bgj6KBxs1bA+H4kdhHxjRkomcIcbvcnj28FmHj0uSABLkBIV0B5VlAKSAD9Xwp6Hjx+Wi+mqFrws1cU7ZRNru6Bb7b09XntCvjb5UEnLU84BqHwrY3VOvRqnGmTae5jAYd8Opse5mieoVlosYdfRW6XuPUtNfOR9eFKKUqU9a0DMnoKdeNc6jzE+YdZBkmsb8TsriCyQhLrmbxY88kUZKal+cfaef5G5kM+CqFxJydILKRv9Obh1g7c2+fnrCAnRZ5TVRJSU7rmBc5G7VwMPO1P/oJZRcj6KLRtRaaoMkttcDzojy6xDG2XqVdnbzBbujBI9CDBhyHEv9h7gAdSDRY1FPgjJcCS0px+7uubY2rqLgFSDR40dugkr33WhQAWngwd9i1wDkJjDN1LQS4oKH4FCGfNfv8gRu2viZ5ZXWrdmcXOGxYWIVJZfxxM3qDC66uvyaCMi1IT8isK/irGud7ps2qn4poDraFVnGEGZqXgyxOhb5Ve4nful95dlq9sQW2T41M6ZHK+AM9UXvStmt+Z2AJaeMd8Da9yQjGteF89M1tUU6I8ytfSvcegQUwmBALNcHCrlmP2lqf4kIK20E3jOcdZaDmK95m7oTt9Lw8C4GCdKoPuyCHyrnHXpb2Cb2fPPbR3QcmLYMAB4YjKZHm5Cc8BteOpN9I60fzG4pCPoCx6Tt5kVaEo9jsGEYZ+82b70E0KZfy1EuEkMaQY2TSUe6dhXBjGGxhoWmaJCW1X3UCg3YwywbetPxbS0pgYsbvzysYhtoWTcPY8a3P4nHgAOqmlBdUUV0slAexaeWJpB6rUHMVBA5zPDZ8WxutFJWn5lgLtruzsYZZcp4oZ3jrsBZhWM3d6IWGyQHVlLzzzPLuoY4Ot26doWPeKvTOK3lfrCxuejS07Od6q6dQZ13BmWKS5ZPzr0hgIuDMSsgGl3YLWkm5dSJdI58Xzu8kj0CKXetVg2jRNiIrBVMegbnk+FYqcev/8OLqA/nVXg6o0w5RF5JazT5/IsiuBDU2QyfnH/fJIargWQ4zF3dBD6MHK04243UFs+p1nmSoav/OrfUJnWWv7P/MEYWpHaVQlmNcxKZCastH3V4Al3Q+ytOv1GEWNDUnQQWeBLUcY268F6UTWwZdtSudZtf55YskjeJHqtYhBl6aJYtozewDEbgY43ugClrynkVaMpfI+Jp7paFAKajgeECzW/eGi0rumNJu9ljQgkGd2USymaxxo38DTuUrF5+surrsUA49kFYq+2pkpfI2KjBNhMH8L2nTvb/WcTn6rhMpGzFnQR+Md8MYSwyEmTFHbh3vZmiG3pn2/d+YJclmyJkneIU48RZSxLYNQFZf8rNEzkM2aDoWypoDkUNOXoqRAiX2zh2wzF7zUahtPzGtbCJ3QXiqwOniR+g38ya31fLRF6YBIIN9QBYaG84L2/JZcD70OYjOlb4ju1e74XaM9O3pnhguqjxau3kDBdfz0FrgPEJGjgkd/bPQ46hICEeoJIyq5h4hizSoi5xsd1Rjczymk2C/7Mfc4FTFFKbL6EK2b7SEJ5EbAt7pMVQNXRDTA94qinmiz3YOPd4Ky+HSgmuPIKsvGNGZiEIz9BYtOEaDc0Gts+J7ekue7g1jw18pw3FUvBOQLMqACj0Kr6qeJC/kOhq+XSznVPDtv+Lrr8l5GhE/5IdedJqiUlwBca9ZS+f2z4bG6w0NBaF34P3DyLg5v9dQskDrJFqWsI9hvhCvVJvFDkhHZVGPMDq29LA/W/c9KXWV+XC5XRvKbBCXwmbKSEUnnQs1jkPeFy+/kYlAXo0rjkd8FSqjfnGX82JWXXhjUeyOlC7oToZ9bDvcOb4ZPyG/+bbDZmKZlcTAGr7o59Vtwx5SAq7Do2f29wwE7a3Y2QxUamRPgIzyFjwok0AFRmAfUck4L5bAhl2IQOij5zcH/LI13vJYppUEdneT5HjtNsz+6DEWAwP7sZ0Q/ylDIhuXnORDhESeiahO+h0Lol6ryq/2GEyg0/Isqcn4riM2f+jk9Xujzt41ZwlJi4D31DdVh8Lo4ux4R9yPINsESdAr+DAwE2tY4gPsuYnPJBHNOO8gtcNTRiICOExfbxGgIKgTuO8Cn3hTPaCXUYDyWLw5vyQ4vD2U2z/v2C52q3iGLSmEtnbm+Swu1Nd9Gm0FbeUGD4qw4DCj0QHz5csrFFY3Ea7ShSeRdhGF7NEA+01+bVfOs1/O0BLflvfBggEYlANDM20uySQMCyucprmF3buvgdZzfuR3nNFLKqT0GGWBmM22bC8XZxEThnYZ/ECKHlTvUoUo/9te58+02glfTuLtgqKiKhLilQljFA9PXnTM0qeHPSpNOWUOtHYI4AJzG5VIYJ3NMntF6dsZFafOtPk6raIyabAwV1MAmntBfnA7XDOj95ZGmPVnEbu3AUQNPAem4XreVDYE2RGVhBVlNU7xAPcD/Zjuhe/brjrzL2aVeyRrQ9wAd3TQOmmajoL0RzTB+UL+A0Wa2oDE8PRUlNQKCTp+Rp2oM7cxg0jCRrXnk37PsQShJRQRcCuCnRQzd55q8B2Qi8U+JUHBrGvJPEMt4uaxNBZz5nFOePwPJtp/LbvmYb7FN9vELUZudLxhM0WOUEDDLuNkjD2NySVTLjESVxpumVfCqD8u7TMV9M1p9kpyZsvDbo0i0DOu6J2tQLAELYr5UU+T/PGizqNf0olespQ0zHiixTLoZeE+WAmx2Wdnqnq/jyx2BOq2J0N3i9SK2udiBfNljWntsY++KJmb9VRFInxdGc2LMDedmBsD4REArAQ2UXlBsWRGmRT96RPiXT52wUk2n4G5vPK5AWFSSmzL+M3jUAbzsTGzKChtGM+kMSGZNNIDUMZdRWO4xQHOPWY6fZ/IWRqW6Iau1k00qJum5bBJJF83Uu4sYhPKHuzZ4CQUd6vHhgumU647zHMOTp4ULiV//zZ5zspFPsvgVEaVGuLyZ5eP4EiQmToKmBnXnbJNZVcTgq1BY4RhfLUN5DDKrD4/IBoc8uPtrW4mXiLqGW3DKY6qi6hF/fgzIuGderxROdrC4TBPHkEmOw6iNbvniee9GYNsQ5B5/NrvwG18HYq7S6mTtw9A2UGXUy8PTVYr9PJGy4WRYalkE8DrwmAFdC6UQHRgWwXrDwem9EYNj9EcdD8Hs5hsrqXYsvMvy7P4L2f94DT0ccU7r3QKIO9E1OhDIQYhTu5Gfgn1367EgLnLUnqexIimVvFIoVqfXZb2vTqJ17b3/IkBzJ950Uk2oBwufAocGhiEocweEs3JG3MbHpuJ6XlGmsPqlueg4EJ7Li8SeZ4ith9D4K83iAegpZBsuWpXxGMU0Ew04i/ShClb0I3E+QG9LV20UqE6h1lpvE+lLAyhQZRqzK5jusRDwRbP57SHsqoteyx5nY/xLgFuGNDKiuBbJ0EA5IPekNZ8B75ElBbCiNsVGIMO/XP2xAiiWaF73wFQfN6TqPeXm/AvvMpmlQ4LLUoKpsYPbf+PdHFOTPs6wL0AJ98uMg/7lzEAlKtJTZtFJ7JnVnjCVCuTuYu1IsFHMBG5ON/nMlogCmyYKpGX4CepenIyKXVn7cTLqgRQ7J53vkqlFVtkNMGmfQVN630BqHzQUtiK9FsyX47HAfMEtvK3xHgNgdjMjELwemavdBA0QIb/xQL+T7jbTtYdVdEQkZMSsBwTAY0Xo3x6d+QlPqwJuJDKUdbI/koO79MZQRsa52ENXyeDHP5VyGSPGoPPj35AO/P2QEj59YPgEugBtenR2Xe0VwkNBO6JWkCjA7L7ZWGp2Gar9kRs666gObF/NWha6/tmY8ssx5DG9U/l7aRD7fWqYhZA2smSBFr31SA39mmWr65p5vK9JXhMgvJAs9Vbh1IPLm/3bEnANSBe/HwjFx9Ro4I8w/RBYc0WCzzsQoDaCw6lCDXsYLDTAAeKHsS3PYQQNXcL/9P7hBgmuy+7LbJUZZngaAqhss22oTuaFiGkLp9X3JI4lRMRSF+QZexYR4FjzkaOcj8zwpBSDGrfPFJds6XFTagiJs5OXOwzSptN0PR0LylVPWVzuDjiNyIkKeagRw1bRTJb2fghtr2QTj6pLteZqQidOou/REz6iWLcrUOW90YbFoMGR8Zh0FWa317fmVczw1n8x5EAJjhrkWQDmhnlyWDvlYi4257i/kXSECDrUYhSSbZmC4hqCXkeq1uVTsmGZDN+O85Dh4uJ0M2d6v9zU1rvOP24v916a4TUzsWIw+d97FkkGWBFLtPZDUKx1lyWhCoVR+zxpYTh6r6g9TtQu7mp1x5TjG/FL8bnyhNdLw0jZ8mzXI0O9x70d4w8CPVR8XdaTRV4JK+/eeU6p/8gfHJOqmq5MQbe3dkFwMF0UrCDcuZlrhkHGR8mmBXav4+NHFkfDUI/9RewCnzOmPC+A+hf6a8mWPpJ5uYRKcbRCn9D/TjatWEWhPz/Res8XuY2HgGadkm4gf4PPVR9SS303e0dND2C3qhNa0D6iRbmuQzF9CcPpBeLOT35DBXA6RHipUPmKeuJRtyS1bf0BYRMP8g/dFidtpgjM7QKdGKbXZtzTVq+XTb8XWouTPLxsLS8/dcBpH1hROj5lQzuXW0X25Ad/4o4ND+nyBTTYIEpxByQF2qQ/sJTOJG0QX2hgxnY1YjOTPJgyxpIYMvzVZmvw3YWeL7BG4/oHBRjS5VljcRiO4thstADR4SgGEByeUQMHGEZFDqROALHvufz5WuaW6T70aWMqp/LrVZHdIotM7vItgk6kcNZe4qpdw2THe8OeWeaacNWnxWeRaB6l/H8zItQMa4L8lhPl3eHRmBbo810YHCm453Vn02ZsmkAv4lL5RnLHJ6rLe5Q7YaXvDNFiPb/nd7sV7Hz0I4z2+cjM9FnKpM74dGFtc+giy9skwQZOW3hl4hu7DKZAQqcGCKJz3I35CjmYjqnKfxrCjUg6Kuo87ushxky8JzLRk8WWaDAPP1RmTqQmw4Re89qdKeayqM3GU8Tg26PQqz4979tUN93MDhY9SlgVHXic+97reiM+7Z4gWuW2g0LP78HhMypUzkNwJ7aFfkwLpBJtSeDGT6Q4/72FAA8wdX0qERAsa4YpMG5XtQN7VZ01CAs7fZYvDPs2rJ6WR1OSGwA+7mgV0smAJnsCbJoBsw5agYfSG8NhZisndPsWuAPK8jxPNjHLyBBB+OQVBr+F12o6jl/3VKB3MNRuWORnspsrJerym54dhM7GJh5j+0E4duFtigVIk8JwUnGyM4zVZS2MT9G9zVO2OTu7lXSLFGeUtSk2gR1F+KwSCSi2vMf53Vw2vusLWoW2bmbO4u3E3SOIiW4W5Zlfn46CP7+Hnh8q2VjppeJK5xLuvp4VrCh6buUz2PpI1J7SAphLS0ICH+R5tBLXkXADRh+BI4+AFuecIhnMOglx2DPbxBkwI/4C8UXM602QZo2m0e1xevs2qIm+K70g4YyKI0tFYwYqoPVhHC3GFO2TGenjdz4iFfeTlgxbjZUpdTBwjBnWBpBfIMzTOr/HApTvFM+D5WPq24eOWeh+qCdJNgvxmVNuVZOA+A5EBf3KDbdxtA0DL2pcvwWGyJohWB0u4sNU1dyrOsOSNJstI5PnBayXqUl37Kz7Jr20ED5vCQkKwQt48Hgwnqn6EqLcr3evbsmaAQP5ppNopSIgzpLUIwTzHtIu3qrY7cMdjMzjevcCe7ir1wjSypr/Olb35hOLGx7T2vZsDqaEKVL+pxyUXT5eb58sGrkiqSgaQwzL5Qmcjhz9rR1ToKImfhDANxfFznXR2bWm7I0+Mr3hEcOEJoWwtkZmUlPmADNOj8RMgCU6fFszJAGiqtRuhCpjwq8Lofaoi+Co4IDc7E9Pd17gvF433D6PONQ1lpJwycMavlMAUgioMhAmey68GYLv47qHw3zZwBt7U/XxN/uVOO1sOMTIXBpqLpm3B5axmgSUcxHkpqVdfYVnSeQWSzAkmCvshvHa7LJGitBu2xrg7jid1pU++ojVJTFg5xubDq0MhoMXk88W9EWvrNJZtrRgAXlI6DImj1ENh4oMeICo9MYCnerdw+uQZmAYBezgM6NP4kX4q7qLQP2dRdu0WwdDndW4TvjKUxnBl8SWlrIMityVAxk14A7nHvVPedn0BGe2B7ALdRdDDx4jGQsgMo/8cgpXv3y761PxYnJDxrgfHqsM++JbIUFqa0S4Y3aqhkSAFcOWsR3z/DxUCPFWg2UuG2IB6DsIjf8LJyKDt8xW0dnfKGrqFdlpC9ofB3FN8AU6g78v6b+KJCFqMl7VmiRoUcdw/CMqDE+SJ78KBvuoFjNIb+i6oDnpI3aBn27vuMYEuxWfiK6hMSBV70+MKwJwaws01UXWvRXefVFT+QCIrNgA9NhJqhfYHuyx85yMhsPym2fGwDoEQuWaEBxK1Rh6BTyQ675LFOnEGVfupvxAwERBndQSoor5RWwO/EaJjRZjMzdgGrRswo68VAYWZwKjRyQiOgQwLaC0Pncfnu+RcOQIEfMGs5850MrWZFTrmrSWh4aolfF2Jrw+VVMeMDrZ/N+yDgbSVR8dxzhg5LyxhPuPZWLQViYpryDUWLz6n5+uid1daj4w5kuDpdk1wfeGt1JQj6j9Qy9ukME+e+ZpoRydLGw53zfycFEXngJGoPCV4tP3xBMwnF+xJde/fys46vCg6nWh942bjS/b2t2Rf5nDtkgiOngbcuONtu+8+8rT9gyEjqA9sJvhWjlt8ZNRC7KG+S9Aew2hmRzMvtpwwl0CNhul8yCK+k0MoTpkT741cE7874eeAMaKdPcIGBB4/FAm52OOOsv4e/3sBbmwnxKvONxQh+7stMpiQTsSfCQXEYKDkITsxgIvsH+8II/3RTw/MXQLb5NpGvozCDQ9uVsfnGamLjqrlpZKHhfQStffPT9JwBEbBZUB8nptDaaoF5USt4+5xnKDG3EWYnWBz/wgPulPBGOiKVbAHViw2mb4KoCUFKKw8oEGrqZcAgLnXWJ9bKetdejdIx4t35qJaMfY6pWu0cGMJKnDE0kjGs3sdNx9x1AyRt3nmBPDv5DRDMGxRcm4qBThgPFv5Qvlc1aFcfq8tdDfkKP8mMH0F6d1u8OY3dQlzYQpaY7Lxb2teHyqSdcWjg9gbmo/Mn1W5AdilpsOIfc0GDdxebJipjokQCpYmjPnFnNzCD68I0OS5TOGY7Dip0RRJQSCFZ6Rxz+P5bH0QwUqSaiJIMBkAuRBOUlVu88VY5Yew15aKDtDHa0UmGmpzPkIFhsxwGKYGRPFFQcNbltR22ooyGzcTzVwylSVGVwLR9Lkc1YtfY4eI+Ty31yyBXAsdOaCRBGuerHr1fc/kVbrEdBeygHikfdSQ3jSECOON+mVHe2YiK7R5ytV3psHEz6rB2XbZfJdoCTyDufh3rnrHzIryAJ8YOl2ks21h+yygrF1SIlsA4Ytce1eY2CFVcWBwjcelSx3ZTewTVTg0Q9mFCkfhwYD/SisUIN9gGDNbSf82dCVqXqo9/G5ZPQUdPtGIsezWxjvPhOWbGcE+yuyceT7KY5WdX1XaU+/Q+vyvyoJ6AUmevr+KwHeT7qpV7rtQLeH0yj9YjB739Fel2Hzp9Q0kPPCWTs7IYo1NKDzgiwK7zNX2kXxlf5RUoO9I1tDY9bTjT+b3yXz5U7AzAe6IU1gn0r9ABJBKxSYNKBGpvnW5ubLO+7KRIg8US5ftFuic4mxRB4nRG8ZYsSVwCPBOLxiSfvQN16BaPL6mcmGlR6Js6DMsbRzd55MDzt66EUPlB+oGrf0LZ036oqT+MsXBOzXw4nywyJUUFfR8MD4dcGKEA5rwEUvg9WWxyr6TJk7sx6lmWbBRDolOOSnAhwal8E4rYlo5hh2Ossj4Nw6Q3ENhm/kV06vbaqCiB3raeXuynW5dr2eOUw+ROPduZhKVZmikUr6IgbGreIqcr8wmsPbZcAlKKgjCRX74672mCyMgBRFctExVpTdDRwE5hdvzEgn1CQ0ujs+KLYk2trbYGEf+bbgBJD9BwnO3vqwno1/SteOFEKG8Um5D1vIlniaG5uiKJlotpQQQLgAe59gKs9C0jGbHyEIEYWJHo/g2WRD+ML1yTLdWFinLDpfWvnZiLJirk2bQvhyYBdvPDLhvfts3LXem2WjckU/4LrQkzP25Zu5DbjNHFn34gB3xqnra2BR5F9XwRQr1zLEHCyCjpPpqciyAL2ISQ+jfDbtEPxu4lbO45E9+M+3Rhd5V5OXiQLhkWKbVnkYEmO2LnGTkJATzpUljZnkUaqlSIY0w5kUC59ot46EORPjgncfqGQR2mh2G9uvA6SjP6RAZlBbfgChoIZGtyR/WlihCfMfDgD0FM0A1Bc5oEfStRgPqZz4f0aD2q4OJrXA9PYzKsBMVlGiDWUAhUeuAFZXe1Y+AZg4tt9/ieiGB6iB41vh48tu6dkomC6cLgbT00MiXIkTIyTZFjJNSf8DrxQfq5/falhtCujd1TnLfFD6F9bndwz3g3sExCMiI/93QHFkw0OnBbK2wYM24j8TQzdcbnvUSQz9KiPwAMj7fEpi+bV1qJFziRb0oeoFo8jl6JcH5I6vveTyTlHvQ1wUHv6Ic/Rm1kIN4/Cd1pFKVxtzY2VWDbDoT1Ji3pVHKX0z59qC/6tDRWq8ndsmPLcd2TvhEvw+YyY2ZmvxqOoQGLLK+sslIxusYWkFA2keu7dCamzHJDxjjFekLRtbkX4dL6lmVcxcmACj4IO5LHfz8zCGUF4BeCB+laHq/kfV40GkdOHoTeabT+3jkqERYW6tJQqb+8JIgYqGuFG7siHdVR/MpCX7zliD1TmotMJ+AdLlqnAg0T1IqtkfWCzAjNlYrmcPxrpX1wiWch36PhpAM/YMkez/9caLJoE+YLEB98yGbHDCtUfztzjUp1Jo6cpXBETZUPg+HBZQEq2DiOhD2/rhBtoXE6SkKQyIElTPGyunLyBkSocbgyj/IsDhVDk64dYbTF6lkW8aoegsH7juWzSekBfVDeiNoCbbrMfQ8pEtQHL22o8aJsaRs10WXI5Kwt00HOEfJDhm1CPgs4H2rFsnMc2G08up4MwX3n+HUqDbzG6eZhuHIrGnQbNZNZZb6CQH3gd2gw2Nr6rBhaJs6SUcTPyLfr4WYF12bc+tONOfdgapYEdLP+URh3QuemkwEU53wGP80bCy5EM2CEuXJUGDn4IjTWin18ge4SKlIpnnu4LTSruGbaW/00Qe/bQZahxubepvNhRbXSo9x0ydIuOVtwEI2JADueuBRHZTXZJ2s+9vVGQbjKeYdFHvGIGQ32DStjDz/ixNvHpwr0HLytr55x5usCiJoQKQmQ/8+iKWiZSUfVznGpfnRskeA978PqlQh/Letx4HlV/eGCz/NChsfO04lGcfcx/U0kcU6Ltk+6oZs4FAs3eeMNAQXzsr1t9XRIw2/e50UnPEl7u5W0vIhmoLYbSxA1SPgSWYYhf7lMwjB7RABelaMwXEcJOVwSyDaYHubCTLTUrByLIpIA3pi6YYEJxgXdGREURQSzS8QGx+g1l2Q2XpqGhWgDKfBAnDUX9VLP1Ne2lZE7yLqDWlV0OF/qjvVSTQFeo1JXZan2t5PoIFa9gPjKGWxf/QgIjCmmlwuLbNCQglyho6glIyyAlrrqcd3rd1FvCD3yjv3TKrs8wWzykLgdIrfDyBIdmDIE8mu3yWxHSz7xu14j1A8b8EVftCUnWxCV55G6jGzAbXfsuNUywgAAkTbo3A5RsWHnmehquoz/9//luzbnfP3ZQ5jrtd7/Bq0FazahYuEJI4lqmcGTFKDXAujfoKTDaBu6fDR3dq4Nvk5DTq0n7Ka3EfI+fsW5AxlS+UVUXNil2MHq6G4l6elpe00EcHh6UUfl/KF8IpZsUReBFSUgKkdaQlalOsKTcQwlb4bqFx5tvgo9Hu6fq6Z++5zlirsCNT4dWI3L3WwZH4fPbmQmonrzoIg1UJHWY61wGIEjaaW2ZjJYYMfG6MR6XJ4igAyNuE75d2Z9uhkQSNBigF8R/IX/KTIQrdKeHgiRCsjgZu5NNB2cuw/M+fPOhA5fuYJMLh7k/MJtxV+2ZkEAII8392FvhjnxBGygwMaaheZ0lR7xENd0PdaLpuQpbNQnMK7LCNUjkYXvcoAJhvv+mhB9D7RKIQchCif6HtWeCaMuGQ5rliGTrNB5kGmZ299xv5oQ1m21lfehhGNnH21Z2Q5vFGDa9nIAY/TR6ofGVhg+pXi5SA8HG4cPi4H9kAQ2DhwG968mbEESCEKzKqRm/20uC/UCV7FsjaGuhchAJYF14O0tdHSaCiYCRZZV3pxuJ3+gRkH0lWgcs2m9sXxz12G0mPFY2YqIF3FSBs2X9rEor68al5Rbyd/ieF0nWV2G2qBb5Du7m1/jq3qnNApye/P3LhKkVKqjL1ydoFVsh06+ER8nv1gKHQUE8gSBE+FJ0YaldLoeyyPkNBF0GfRB+A9nAVBisXoQz7KCYnmN7LSJwHBAwovHa10ppa5t0a1HkRcuMp9EfexIzFI7+JNPHkc4+itYOXmNu4Ef2TdeRff+ULtVN9y2tOJ8LVWDIr7UFHzwDGtaS+Um87325dEcS1Q2ZR6o22zfC6wHT9EslmB9+/QCSWy9/4GMPjbhOHjADSDCw35ZVe3ADjSMJ1WEW3XsHo6M5rW/UCz0FMYxXKBmoMa1C8wvjjiMLoPBOFsyQYqvu+Pfu1gh404Bj0RqaIoAAHk35mRXc/+I4bYL6+n/HntKFjshcKMFOHujBrogiY5dKiPEoBcBiP6W48k1faT8/G/Fc85Q6G0eEytsfZZScfKL6VjGKqS7WBNj4wQq4anK7Iwj4+ckpcGCZ3fDbs8SaE9TCXrZXMc6EhS/4HPjmTkT1ZanSBEFGAuPoDjdJNjL2r9gedUtfxdMmvn4ZpMUtFM+HfJitTipN83S+QfAdsJnqkWRfUfbljaZHb/a3n89gsaGgKl4QGtaoRsiHtJXVHg30Zd9SrmGrxzLuEUNMcsNqgkKT51PazpQOe85rg2F5mgfT+lAHqkakG5cKNtTohEFg5Sx45O+hT2UWPZdNd80qj70327RZbki0UVm3a0Etxz3YiXNw7xBQc6YhKzdm6s9XldXVXLKNFSNRxjynGLldF5fm1H6jYRZggGwJcAu+MlD2DPZXF85yMiCB1KA/ReDGhlOWcWLX6HJomVhr/3CUWoajwTSZk0c2Sn2715j6ykQpZUMPx65R4VupmkBKwWxq/ONM/H2p7/j8nDhdqlvUEyQbQXeqtrcdh1k7BEM1jz/SB1GCwwlTBWmNLZrpoiwr/YQafGOioKCRY8itnwRk3TrotsIjUrNsY8bZGqSS6MhwlrA+jplaUwrr+cg1kaEGb/CoWxig22afx80H8X+LSYcSWDW09Y699i0NvzpAY0DRmLNtkoxskn7+4xS9goS5kfwz+TJNk5mt8gHH++pbWPRcf6RyJSwIX+3ud0WkwAPhvCZrgmlYEhbZV0Iv+D8+g77PIoE1A6G59vZ+/YxSH1oo4Il+kEb28XIEw2d/f+i4FBGk55CTTi99utbEnJd7BFdqXHhRZyrZ9qbW5ZZdNxZCxLECj1dxhtfIlqrG7w1UTJPEKu7wnc9wlfqMP4F1+ZWjJb5gtG653HjwDDSra/dwu5dWCJg048LFbKpgRmdzs9IIVw8rNW9YK664zQ4wKHz72XYHXdb1M36/kcgsJqFrjXTqxGbnwTJwDgCrYbnQzpaIN1ghKy+Pto5YqHSIU1ljNSq/CTBO8rI9dQ7gzn/lk2l2hWtwbhPsDt8kTt2BazMpbSLuo4CY9Zr1IFZBosh9TOljV0nCypOmnmrUcdH0dHqoUbRudqWf/XvvPAF2StA/Bxp1Gr6H2rIl3USsG748HODfqfDc9Y0c8jadBcfY3r87QM8PJqOSgzkNw/ao/RzKJ36SSSC+VhjFiCKDhOo6ZPAcvH2P7kylmu6X8si2F94lkRpuhAvIMT3ZoNgBeHW/OJ9HbFLLJDWn3uILsXj6flEbcjz3t+UZmlrgLQvV1MQ8rfcyvYl0SDCANjLg1p+Ok4iPbJ8UYAU3EoqUSpKCnRI2WtMfVMMmdNGdZ6ZYcQ62C6wzE1v3jjsOlzhbdg3wlKCeiU2zwwWPXwMSHZWKx25FsF3VPfm9EF8Feo5ju5YRDPDDQUQrkJ+csri3IqDZjhemjEnlSu8RVDwBgdZYILIVJJHhWQ/5/HiXdxliy5QUfu7ZLje2PO6AZvpeywq5qvV9qa2RTymhvHK+wDh/UjB/TQBe9Gi/itAfofae3j8jvn0TWANuXqoGrAlQhKKORzmJwJi/c+y/GFVwz1xXtYXA0eUUu0NVv3Df9khcet/wyBeSeoH96j6v3MBdDGvoCHRe01gZ80QQGgTkURHxiTHiba2yLkElVEGsEjWN2uUUmYGDRgmmtz+Deo1wOAy0Mgluh5+8VL+WmM8tJwtjn7Zou6rLttOiMRPNwDv0RJMtlp8y13aOqzlrUEOGhsTZChET0XF8V40UQwCgC9bm8/RwXYTg4f1OWRnVdvNTbQcTCjKzQlXz60sac1bafC5GN1P4TfF4vZA0RAwoxiX4cMC1xP4Os8FWn7GIUJYH12EysniqzMbv7yvgycBvdgZDn3o6OQ2uqUgDhK6fZRUU5J0CphkR8/4rgM5lZakCB9iQ0UXUHGcEui35wwh6i6HnTMopZ4YVVqfqaN1PIcFn82gCCGhkVMnXQx5CArOmIcxTgC6iEPZ1Evs5isFciA/QYgB8iBlV9xQNxVUK9CIyxHoxcAt3cgg4nLJcYfAJOPMlTN0ew1jhjFsTxygLjzsHdJ/zuAD5cLJagIWDAk3nmjtyfDZx7NNrnMMg9HEKfiIP9zxeJCICYiGcWmwPn3DlIlCz8nGNHUDWss99/GUiUILACOTT62Y3zz0g3ClTi2OIxLXNIS3zK+1kyRogJD5zVlFV9DpHzhMKElUrqWGnBLvhQGHrxS3NhAX+dDFa/e+n2HO8NcklDak8TW7ujJHBCe3Uz5xcdtbzJPs4pg0cRsk3mg6kNhX7fk1oaZRQTUnREkAN7Avu07HuDo9BMh14q9JKkYfsRNts9ns8kG+avIfBs9NfZvoje4yFsJdMAqEiHb0cLtv8kN7Dt9e8TjjAlHH25jcy+ChVQFp6DXAYH1doDGc5b7J0NRSKi2zXoh0Ie21ESuVR22dXKl0U+j1Zq5IkiR9EX1YY14/F8bmX8hzrSLDTJVyXjsMnJzDN35Wbs6k5uJPdpI20Qn6X9UmwkNf+gEQaQx/97IMehc+cw8PCqU7IINh5+w7YdxG869VTdUoA5oaMOsTw84WHR+I/VOFAmsLcV9EDVseHN0rUtkK19lKPX/LtoiPcfOM6nvNm0aaHeQaobANkN8fT2BLLEnd/UDOelNTjXGue6SzRCy/nvO6m6AKW3CsWSLK3ySibmo1q6yKWWYlJ+uAYXSjVlYScoa52XsLTcowdzT59wcklUMqswxmtPSfaki94tTLbGi8xAco9d1GBO5mlWnfn+etOR64QU/HRAdXFUXd+T+zy+vUtjvtyId1vGe4QebYAfN2HTIKePumYswNL/t68boxNMtin9bWeEGM5I8jfBefOp/fe9+KtTB6EgEyqLynTtNBHpGsM6+vd+psutT4SbZBEc/cTw7aZ7ggSqPLYwSVKO8yjKaOkIdavR/9Yf4Xe+QFZiQcrjMEdSr63tUpmPyChlBUN8J03nfxhA+m0gaxZT580J0JozRIRlQk6Z542Qd68lirNENMDTw3GjaZWviqQithf0jUsH2DlKvsA0eC75mRVlsDepZnguSj6K0LZM/5f83N9zb5fGtFMgyd1lM424Pkfzi5X+hHKMZwr0SL3c+jfiLPyV5RmawgqlJKSLKLsouOAersQ8RTCQQIpJ/MFywDvsUiHIpr6m7sx73aN0pAANcnn80be1DKJmkrp1JVBAUCOmPclL12xWnvcQV3mEY/62l8DY6kdmMlopaaSaconIJDiuKN89T/tqKsfBpRLPPgcxu6C1GczIeDoIHaBMUSFkSgwYDxHwH/T6wduo5N3FQ45nsOkvUMryw2CPDaZEZcDn+hPfu0WEViofkSUpk/AgRh77YYQiVSZ5YA1unfXesLqxEHhg/XEKsjhU7UvyRbVRjoUWG5ZixFIZNqvgUqPoDBrEHIEhKui/Boof4pM+Jr0MF0dD3k5rWRsfuWcasPNNRnfiZxUDDHo2Ps56hDP9NsbO7Lp5Gd8rO5LSM4z6hvuOWR54f1bL/hFIl828GHCjbVecbbqi54h58ln1XcZQm0/eUCQEhhxvdaJwp812PaI/fcbfCSOlESdFXsYz/1GB2wuE7vgTPrmHOFuzrbKQ1zw0jpQhM8dd+M8SfMF+UOxavwcAZM6NfSqq8vEXMyP6d9uYVzVpr12uypmt1PN4DtNpMihD3jaF2THBlYpuDp2nPWgAZtAbagNlQJ801AL7IvmHEsr6f/iMNosW2j23gbXV1JU/Pn8z4/AlzOXscfwE4oa/tHx1J/wzmV0Zc82SDt5ZG4pc+gemhEFAAEqrP5nsTJsLRazy4XkBfUZPGPXHahzLsCjVNumBYAq4Db28cY4MwMlBCW9nfGmP92DlDqjsyCIA62zMtN3Q0TpiOgTAWV10FHPA6QpoO913RQUXXPdeomc/r6v1D9SK/xCm3EuuPDijdEhSW9eIfcGcEjyAor8L2DRPgXEXE461wX2VMt6WVDXj/GrMpovF/b63OJDs/aOUH51AzaXfItE2nIYEo+uRWtR5290kiWaJbplap6YMczrFqAS+I+FGelzDFjMnPDULBdSQrYe802XJFoZjF4OQBoM71+RqRLr5YVVw3gvLKl6HE4lnBKYSD7kHGryyuwzGlrfymgE+ZzOmEobELfcvuDz4HhlqAPGL9rAgL/xgzuCpTFiTDAIhX9IfnPzvT9capkNABY/4KOEAMTFzUkgi9uJDgHyjP6q3mN52wfr/SN4Fu+x07JSA8JSiNk3y43c1OWqMT+dydPujdwQZE5CigFdYHq+2l+JG3iDzTLV+/jXy08aAQ/9/6+n8Bv50XFsxe3spK7/RF8U4ZiBuzR/p6KLF7wYbIvhiL/+n3XkNLkni8EVaJUMk0uzKDRp1rLO12r2RkGBK2gBMLRFENMSTMQ7z1I63nUwifyaofa9lb1Ci2Qg6j0Cty8PATgwIRSKZYJ9L0snb/7FdBmimx7LcPoARRLz1HMEa1RAFEHg7rFZGHFOjqhA71xUvAqfd2dLBxZQsIRMzTszIBTr+cCvjNWvf5ZLKvpvJLqGyA+lY+FE7wZrqG0iTGfvmlJcv4pIKG2GPn0s9RVvBYxn+zVVG7r+sSNs52FxzRtudxIH8ROt6/DfC2NjZ3nz2V9mWrfDW4hSKBQ7ogvQ3SovFJil9x/vHsMS9VWGO8boMKXqsasji2v4I9HVBONqS5ZtsztUKrQDGvzOMuDON2Te0s34Mib64aiGYxjUpwW5DeeMVGGdpA7nulVIk4H3FodmM9lOi823SydqeAe7hqFpAVbyJZCaQXmToi7ybDJHPAG5j8rYWEIxn6H3afFs0KyC621rEWXRz/fjzddXQh0k40yGcbWyE7uiKvO2lR+uaK6hqZN1R28DQKmeLbEpH40QnvY2nNmllIHcxkhByp5WjxRQW9cqW0hku0dVgpsIk9pASiNsTW23PGuYWZ01f5Z19vGoqqqu16u7MhHAgMiEq8CAS5n2meUAakEp11BvXldth/fVlEu8h8/SsCvo81XS6MhXFE8wCAtWvfmmAJQl+66XKXr4SXP/XpfPkuip6xYTScKv4o7Woat1Re6ClQ7d1XU94YZVJrMZ1p5Rx//NNaNFTy6FtOAY2rjrUbuuvdLNoJQtJrFRgpXzUHTO40aesURyKsBcLjrnEnwMbafhjOBNNqvVG84iloM0VMeW5jTj88+7HTWQBQvskuFTdqzlRoYpTYJm4kRpcpI77rlIsv4unP1wrtjaxkcTTd5PF/Q3pPLouwhBS2uJJESzEW5rYPs5dOCNuRrRhpyEKWcmwRj2z6bsLbZNFIiAHDN/cAGcuBNFjDQtojNhXj2ChK0McpJrlEfI3j8dqFeLY2xMkEaper2iv0K+3l9OnJZKS3tfu5LhxTqQ2Yr+f/70tnZHWyxH03etnFcG+A3PZfnC5lRlLbXYzfM2t6YEvHwma0QUtk0C7P3zuBEh+q4oaqfZ0A9zJKC0dV6a1cETJRVI73LPstbOrUva/izvJhaTYu3+gBs5vpaYY1+0DI8vmX2ysjnr2dAp85Uz/kJO6DtiTm/JNkNNAursPCFhUYCzTJeS9N0SgJAbOyTdGNV4Pfyf5jSwVDGF245dD5F/xf51lhCqPRg6oNnoxWBOCpcV2rz7s+Y5VQRPaV24fz8r9DmTfPL+fjHTlstKeaQdwPD4kG18AGJLgjTw980hIDo7Ng3gSQbJcmir5+nuU1UDMrnI6SNBZsLv/1XxqPyhG+d9RDOMLwH+HgM12Lu49hY53w6QrYJ1FX1ECVzNVJDOs31nLSoTq0zX/adgk6fpjRzaEUlNnsnZtdONSFk+veKQQCDPsG3TCR2OI8SR2YNJeBb282gWKTDbBjNrt9Rks+GnJLwC50fzg/6l0hDzJFWP3fFoS8oGrq3js8v2Frmn/UFua8U/jnEhLiy5uDnLxNUjtkLLFo4cWm/2L7y6MolxrjnbAhffYErdzfkZlkqdCT7IbSz/CByrPFsb3H3e69KUuLlg24FscQ5ey7Hm8SPlLZuCxL2hY47BDIlmswexhvgChwL5UDMqiPYTy+LgPV7adH36aftHxo+4ybPblJx/F2hGMaZAaDt3ySIDskbx3D0GLrETbmST2AXqpr7KhVaOeWxGYJMm5r+fRUPK6GGhwIYimwiMs9NEUKbMrB50YQ3tZjJYcjq68cQhyF5Hc9mWO8YHq4ou32oiza5nYoEdStBZ0MII57fMnFY+RhhZm2BIln5cuDvr1DaisfqBCxJijnTDxaaAGibnS/sOzEapnWBx8mw75eBCcErj9XArF1bKOAzO6+ChD14R3ZlTDZ/KbGtUiYGmlP4hSuG8/ucJRyLOmTIB+8H9zqPebZftjW9+NM4j7W2ThBU1S9GUFKDUxkB6r9UIclrYkLag/ZYDj/HGzHeXo2rvdIC9nr0NGuURDtYxVhdsmK22PiMAKdcFMT5CbPHN8Ksn99Q1vXwpJK3vtDUoibW906TH6N0KFCJ0641yi0qc5oMMbwZVrCdqU7EmqdFAVTTUOBTnjoHU4tytOUWVShKXlzgJSeaJk99FxhEnvowi6pftyvUJ6nZgMP9G1MnO7ZzDw77Hy8dLqkG+ZoLyhfUjbAeY8my2R/2FoYZOIZ8M1soKVLvZxSpxknBsV5/vCI0skdoqQH80fxTi5mcy1HrmcVoBOTT75mS+uEzzIGR1ikNMBG49RrysZxmMtMrHF4M8EvpAo3tdwGLjXMo+CRLIA9c6g8cMATDCcQ2tg/RMKaAeLQzIRqxJpIR5G8Fr8gjUTGnaAhRoYbIjhkeZLua8cmega+/9sU8WvlMjO2tAX81ik0LJOWGfM/jn6MznaFJMBjP1TIH42qZql92RWO2Usjceo9bn2og6v2m7s+zBhXeQUpCCtT1AQ7gAiaxsN2enLI12Cc666QC6rhgXBywhFNz8PFGAWJ0JwovS3YahQ92jrR6IQdGEgqCjvzd2CVDQTImyqGIPbC3fPO/qVSbbH+f4O43cemPWLUUaE3OKlukMHO0RDKl94GURMehtk6Uw+kKJs1fLUF+spcUqfDRx6pb6Nnzsow9ZmARxx9PEMh+cx34URMx3JXLC+yHoXMSZYq1lYt0137YN0C8hmYsGQfrLJlRCtrQTofORZGAVtYy33FjXEkXigAqLjEjRQaG8PCd1CKpLcx+lwYQd5vMgxVu8cB6In82M2jvpCWOL0pA2NyK0L+W293cdOvjNu18OJga8hQRPbv758f6ywFaa3SLoy9IIz4Oir32+gn1yXqmNgXkzWs5ldp/yXQ1kNJDPMkwcOWTgQNiNKz1sMuVLJxlcRfhLB4x9hzxH1uRPC27u8HFsdlRRC76d86zFfzcM2iO6xiJKbOoplE/L5z+227Vwq5SNqxZj9i0DSmvK+Y2lnwaYH9ns+eMm8Yg1iuLiq8cwBjQ97UQ08i5Jpk8IzKlrpJiImGDW960Xuu4ZegoAC/5zaUW1LS+7lmPjLCEgGX3njMHrn3nVM4Gbgr7/Cza/2S5vRQfdcelqrJ5IIh0oc3xP/N4B8xAv91EUr5muk423UuaN7a6CbE3rbWy3jbZLXAF5cwzllU4ULHsu4CAEbzRHoEvp4lVMVoD7f11Ds1ahcjrt3RR4JBz/UFl8W60nBxTfATHHQB8S+1Y1+/e71KhkZtrciKF1H6McngcwrQ2/Ei4woptXk4suqZNE/izh82iO/7yx0yq6Rbbd3uvxG5dz+GARvtxNZxMGS3KBUDfNu4mN1/yvMODIxa57r7Kr92uD+hkfGKbwTi45cQhzUPf6LeuZ6lVHamohzxSWOIW7dLRc9L85P5a8LYLOcJ1LbQz2Y4CfgLLouDflPVrqh/KUQgpQmXNCo1bufB0HlfydNDrsOFglRClgXmZx7IhEESEK0f6MU+6fn33aSEc3vojAF2OFj18MeFHMUibT97BkTn1NKlsPEZWXldJ/I0Szgs3FoAIUM78JoRJiJLYcOw0yNxwcNgN8xyIjzHusdYkswKwzkut5LseL4ggRLJ60PIAd5LEgvazYQ69abPDI8dfJB0HpcndXF6tT9nSCCl0P4cckFrAum82KlvcGztQ4vxteawmO1xygUAkE8SQGZWWCLUECpwIXeDmDPetdM1DYaZHgu8ksey5fot/dQhCl0XNp9GDPeReeR50sjCyx2no0/b2Ly9ZHL0NWCYG4umuYmvLmy0bFQww92ZKQfLxBa501LbitOS79tvaHaV00UU6HYCaMJ9sgXlagn2HlPs5wY3EP7HCA7sNzFaKHFG8TSttxAai2lw7F+RYX0cMmwPa6MgmEcke+wiGmylQDRJe9Dx47rR5fS7fjwJSuL8gcUk0dySx9uuYOCNecZYHxsZo5ZJAuOxmd9BWt3bgh67be9KlJuVbGgE5fSEhCTVeEF2kkxHZ+MamSdQm66B5wUFPrTmgeaUeS7C7oUCo4zZtOqlAsOy/qewf7ISSQmcYpH9EcOF9JqxIrfdcKV18M1qkmpCm4t0H0baRe8IA8UMy3K5+4XQlL16GXACLYWKkgLehYw6YFn10+2qyM92/HEDojI+J68yACeYKRcV0o8cAKqIckUGfOB+4vrddMEJddp9Wp965Y9filGvGcbagTiPRB4Uhp/Iq4YQk3hWB9ZOjLaznPXIxh5GAiXbgPAeo2v/Hp3eVimn49QXtOIW/4qBw6D73CAY8oS4gLdXoFlmt7i/DAPMNHgjTdjXYlXJY4l/YJvUWJbDrFwsu/SQYHO/QVGRzhOjHZuZw6H1CbwQ7j57Sl6B01Do7hv6DjkdEN3ojfXaDFn7ZVEftH15G7eq3tGqjLMWD7GX2AmJMSCLg7hQQqY9rMzxifw08HaO+DWoV4JatE51+Mop6EGBVPQvG8e0XZWbKQwpUbJRlNNUzlc4RBYXHVPpU42R1LgBL076ZC4ALwp1ibHeLCwG6miT/enJ5UsTEwedT4ZDXQYPvTMjB2Yu1fdVqFgoTSt9SedRCIkxmAtDu4eUkP3jio7dL9MbQBcfOC/GNqfriwNhR6T2FQA2e9HXEP/P7TkQJ9qYcPf4tvHYQwMy/q8Kc7kP5ZQkIxhZryinWs00xzjmiXmy4e3ZkeMLXjj6tO9do18aqlFgpqMp3OjW5JnQVPv91EQW1pTmaFHftgxfOsob8DhFM0ik9mq8C8LXzBgeQAlQ81qb3qUt3p2lx/WPceMrkCd6yOHqqY+rjHR8K6q5TWmiwTNa2lwk8qVOczJyJCzn6tZOGIw+45wUqMgCdaO6uCyklUMYAqPQ5zCh+kY8CrIeDJWW5dhpIaiaXRecG6hJ5GapVXCivRsPVJFpEv1Qsx5An8kRKBHsFnANpiJ4u3VLBqNSgvSvHdzFQsOPgmAaQRMP6q5UG6FVGxHXH7Ku7t2AJetmEvJEUDvYnJ2xIIAbHaRB4TPIXVuDcZTiozRyPKjBCbSSR/N/ep3oKrV08nTsHrZ0DZwCRvdNVCeDoNTAxfqfKLD+J+I/C88G4GjeUBG1OexMiCoulDJaWh345qgAvv/n8R1egnL1vwU81oh00pb44gXIVIRNInqNrdkdvCGPIGQ9mjZBDcEf0aRVx8QWCx7Z/F3eOiDpKWYtQnzUjaPds5Sj5QqYD6MwE1TjhdTPOTLHmkWQ6Sh+/ir8I0Scs7ZB5i3/EgdZCPvQS3eHoXRXT/vvVSzgHuHktu2LxmiiIhDFFnyQAoiHl4+/SC6jzEO34gFYBxZtbovkEUk8tzdhtw6ZH7qkNp23LZxORHjKm4dlPZmNLW6fHAVbQyRihO2nD4NkQSJdp7rtqTeFI/nhPpg078eBYlC2s4LovFcXU4SIrIkEbRNXxO92EVACUBlglIkUSP+nIkfbP0z2J6Bl/JtiVRxssJq7wfh8Qz3isJA433DV3z4ZC4DtNeucuTBQZjDXQLa+bD3K8kvfv1xtohKOfa0HQDVfBlZdcVeNO1lYWrc2kwp3pfgVeoS5C0Jvr55+UHSp6rN92gaCR2MuDu+JQja5UPTE7sKa6kKrnl42H7+U99nqlg47IanL85PKQHZsrmzFjYMTiDaZ456sr24AigLx00Kc1uzCEYHLp3ZPTnq1Bk11/LmnuGsOL1p5vSTt4dVvzKtUXordTecYXxGdQ77pbhtAK2ckL8QTwbv0lATTOk6z5BnDbVaTZJvOu0yZYZ4UZGu5EHtljicAGFnsXAuaWkIrP5hdi8hZcyi0PGn5AwZPr06xVczfvmHu+m+bNHieOwJZWGkTUwkWwrNMoPj8PE04oHyC8XE1clPjTJESkojHVKRPatLfgty0lUVSrWBXBPuq/mtpEDnRHHCZmuouzUXABORCsr0L1yAPZDm1Id5NrdadDQPgFaIJME5lf+FKz3P3Nmu/mJHEidg1TBIXwbDv/P80260EcVS8krFma0GoqA3jpRgUP8fMKbr/DoSqHCWChpvI0eF4sgwnCW05qu0edw0m5lw9cPNR/6SEy+kqLM36sfTHYlk86RcokbXSupAn01M43aJILJBAqqoiG/hRQuVTjZnAsOBUbVQffcZ4jPmzQa8wZIx3Ibe7gASOFfRfjakZDRpuPYmnEa8D0H8/bp0IIJswIxG3ETU2cjIK2gF3NdVSF+MuKxaPxDfywW9f7WX1BJqyY7GjStFNw5/D2cgLaXQdqlRLZxzN+0EkBjqNMULMR1ieNl82944UyOljFqMOVRAEo4a+mmZyL8QWoEWyCMYRgAdsBArSfGrdyIIiQIAfKYQzaFf3ryGYb9sJ1h/WyH1tCpTfCu7JQJ7GRLzGbXMwgREOTu0WX6sd4YOd/Sup+PcW7ltN2iD/YH7jduR7MZCiIpJA7wloYV8yhcBOJp9xMQudthKbhJvc8EWFYyZW1JJXayAUZa72lHmrenEW5A961Dz3BIEuTft1ndmx36f7cVtYkYhoZQ4NMuCPy/5PXk2GGo2sqW+6P9nVtT5yE1uKEKzhd+6t+ung3uf8aSMks6ADazdGXgBvgTPgub9x6ByfFSrj5n87dZ6Ki8qylCnHsD3aQ86+0io8a40zHjMCGci+3iJR1YcszPagSVCCdRp+d5T2ApOoQqx8cf55bFr63z7+s9cO++RZD6zZdZLy8izDAMbL7DGOyv+ry3xPfpB7ASHhPHGPUjdV0FOJj/ACTjIYn7Ki5Fos+JSw7MFkDaYtThnqWNUYvZkD0IZNxB/2zjqMM4UQ93OFsMVA8/sUF8ZN14LLwSITkYP7QLkm8w/p/KFyPKcOs4MzHAe0hiCZN+X/L0wkw5Q1kzVdaCswRsGzARR8haIwWewQ7xVkO1uS716WL6wFiSPX9UZOO0TCMI7NWN2IolJc/toEbzABJaOTfv2/1qdzKU7F2ua0fPf66dEPCjSv/zrVz3qu4S+8srwQcYdjuq2tPeQAkRTxvAJQswOvq06XlMfXfjMIcyyil8BXlgS7uogCK5I+TqF4dLCx3w7M62k0CeL5wNRCS6GeKyIzflw3F6F0G9orymzkA2G0vp88WMlj0wNTKznbqH1BGQxp+54n8d38p4KwiiOB2KYRFHyWA+qj58yZKUpvV5w2ogfNO2yOAP0WTU3yzT13G9akL7+6nnL8M4Y5Hp4aMsSqTnnNwIRt6oEc8pzCie6S6N8SvXH4JgDgR5yLFx3TMB60QnRqRvC3vqr/YjXY42eH0fJzL83CIa6e67nHcBwDv5AT40qnWdC9GuMNeD8AF0ZI3DXfU3qeYnUmHJTa2HnUVBXG5B5wjMh0m23xHuNXuqkOB9uIgIZFZMa1oXU9YDpoznaSo9ZYKaqajrCr5Xu69FhT76w4pm+1J4TZC9u+eENptQkJJriXLaj4yomJfHA6Pp04skVDtSPNNiAUktAro8Y0X7CR2mGk4QZYviwRQ2HSunizENkwQ9HghK613OSHOjW5IWCM+eSgSyz2Pm3W8amX5J5tTmhZGClsztgdu4hbNbdX/Y6CB3/gqRglrPT2f9Vggi5xXgaFuO+7UiJvAF6snXSLFpPzgrh585UuHeKllG5GbNOv015ybHFGFDRe3uNJ+11ZpMipBxUb8FYd0Wk7yTMsgk4YoPSPQ30kRiaPwt739Uegzl9240lkzO23RzfTnZuaNV83i0U6fzTZI7InGhKxp8u8EmPPpz1CNShI0KaCV/08a6C451Ga8ad1w51jw/NXwYls3IMsnfbU9k5ZEYiwqSvdvWHEH9C7VNgTUQmEPhdogIvEFc0caVVjgC5gEZKpvzIAPGO+jKNaW1KzeWDhdac49u4LEYSJVGZBWs9V5g6TNvFriw7DwCBoIrud8FQMZkk+vh8V8jcNQss+lF2JLi0+NEh1Pqhw4FlufyR3DzH6lknRqc9f/euZOnv1k4lsAs55qXt2vF0s9JVU4nQV9yFCw7/OI6+fuEVtbZ4eiohitnLYtQ3TV5IKKyc51PoYGcmuVVd7kHJOLsvpvSL538IYVtJH3ZbhnSvyLq6V5OQ7e/HCeftsChDfkCl/60hbERo8e/S+Xd3cEFdFtDx2CHVvCn3X5JbchTIpf5tSyEMzaEMu8/deDGIqYBiF8Eeup5IPDEbAWtQuK4G4uKxK0f8TOo5iSpQiOdxKsN4VUPT2TTO6qpo+p5C1BHRdOfoy2L4dqMl62rZmdc7nXTKKYO/IwozZ3sjyC5TVQYHQLDBZ2ftmkMRp7erlc4qx9dGAw6NXh+fsgYoZkIJlCSs9Ll0PRtvDXxOyVw1c8jJzxJF1x31qN8I5YGv3k9Og1S5925os7b35F9nCrtsWCBgGZxU5qRb0KbqCb7JoV71xU8B477cel+X1qbJSPh4G3tEzErS1zmtsDkiOjZzlagfa1zemlwNBebcxVXQUBaY4VeLuSDpzM2RfDWfdSlQ0Cfbxm9Xr2LHtk4MwNBfo4QlKZKuYRyr9ag4QwpHujjB2b99mI8X0mK5Xw+TgQ4kY9IW4Z5dXYwOEJrFTtI225JX36gNLNIUMHm8W8Otm/LWcB3zWr8fNaXLGAqVh2JkiiFJv45rRGy4HpPnuDUHmVWcPoboeul7GJA+27M3Hh8T07axWJyCxOUkItBlELCEFsIo4CD0DU5idKs9Hex+Jn2VIrszQV0fL3ntpnFEBd52f50GpaPoJQXy1WgQnEG1v6ikjrMZ4hMW8eO/hlRKsv5FGCXh3sHv/KkueXzoeFKfbw+uLS2o0fOuoNCgAI7M3Axqrx1bfK//cG5QoUxmo7inABZjs2y4rz7jITPmdrlqFGfjyoy3f+iEbRl5BSKITQvPOyxD3rLADu3BVDiRj0XTczgX0951ZHTnnOMlNIbaOTewRrxRz+WkExNRcs3tdwTr/NtlU5FcgjRhXbgGnYADCGVQRbmhZON58Mprkq3ANARnA/yYO2DdEyhIadBL4vXuzz+GDz+6LCvt2MMB9TTyFqFCAnAgLduug6LIr9/FGYrBUl5FvRBk8gNa1ErET3nqyol/Zx6NlYLeLEtHLQDejvSYXX4Bkw5yflQ44VsTuB5t+JACDt5AwLiudAu8pbmW/bvob4W6ydl/SLdliK1z/yNrGrekFdLCfjCTLUK55wyNxlPs0wud+4UXjUaIRSCeSq59UNG/0inGFSqjZDfpfrPDNxEJsqeU8IJtjIZO4zqGKP4a2/64q9X0Av1LOAMukqWyys+YR5nc8Y5FsgbDWkB+jwIyTvO9R0MQQFEfIiVlVGsWi1gBlMv1zoevn6dVpZpeTmWmvoXf9YCP5PkRt4IBJp29Elk6R/vBqINS26EtOi/cFcDXcpjFwMG6D/rctjYCPD8CQiHeANQxAfFy5wTmV1CAadqXaluG8RTSEAfO8apufbDrsjXFZOwa7QtG83h78XIgMcGitmOPCGUAdV9rN2t/Q2SWK9cql7t+bnTOPDJtXfTTPBI0sD5UNyi7L5qqsWzksT7yThCT2gFgEgCD5gmZIceJyYZd2URFLgLegr7p/7AhB8Mq0/XgsGoFji83AI4yvJAIbWYLgqgvQtcNAJohBvXEtkNVVnO/4Ccd625ELLlzeVg2ebau4urvRZD95h3wYfSJWjca7M7Y5jekqIU63j5CEJJm0dRRe4eSzgdG9rPuHqnG5qEhn4JNExTudWMaHsDttH1xeXotndKqVmBh2WngGBxCxBkHYY5Uo1Zq8bEZubP9afUK6p5bR5DdWaWd5MwK4KFTx7CUosYHS/WaiHCvy2jlabmdfWCnpHDl5P1xQcnBuKWuPT0uNl25wua5ITYpBlsVzUz87gWpJ3nRLcNsrCS+zlLLs+LkBJcYZCSIO0x71vcnfJowg6leVaYAXCZi8PWDcWokW9QuldLEmN0Ps37ROMhgHChN6dg2O2O3vPu4H71GvSllfYS5GVqf+eBK10fBfcB5YRrBEBtg8gO6W1G4R7PdHyJUWxeSeK/rgDkHjd4+TehUAEoPHKyTSYK2xQ+v3VRaaIug2D+ViC+Hu/dlNOz78Qgdn+OnHKrMMMdcIf1OVCHxZ4p+jWBXZ94Rgzn0HqtVShMsuFdqLfc1q+YlZsJnT947vOzhcR98WAX9VOybakgfLTbjMLZHDpyhNE/XTQ4TRWorG1KhL6QJb/iGAB1yB4lmCBL9qOYuTfR157dEuSh5IqfYknxGwuasDRX3rhpXJCTiknLF3K4b4quREittPgGVqX3K+BP/lU2B9eIbYh6HLJGyfIHnePKT6PjYcgd/7wDAxB0PeVTNCx240kcmQxxFzxAUbEDQLzdbk9iH1d9cZbLQm254OseE8OcExyZrxE2gKz5GtA3MXLHBmEKPwdxccSRzbxZmbM1OxoxXR1ljavkGKQE4SuUeUV1FIkbRzyilGCX7TQCsC3jfg0blRcZt3m+bKqkgSS43xseOerwyo7eQ8mEl25F9PW6m+ojtTw2/rL4Xgt0QqgUgZu0L253lSyInaUqHkEsc3wYW5iLWl+BWVXsDlzNpjfOXw5MRqjrfaFJ/KuKoFW4L0EQk/m+83rlWJ72/7jkDJNEZuZKJ4ee3T1KLHoU13FLF/zmPgISw+p7GZ2NuPY2r8FpgC2aMOckrOUVgNN5oWKHryQB5kLrb83yc6HfOgukgEorzaMHgQfZPRLICEseD5nk3syYe/FUSxEHLzY5XGgvw4ra6PehcTLLwKHOjWNh2cYi+VEE49Zex2Tc3VovnadbSt6SYypgCOp6nkT9TWa1dRsyvkE+a4hQbXa9xNjdij/PXVb8cOapcKjpfu0U1f2Cqj9FWpUjP2pulm3AWAbQM61qQk0CCZRVADgLOMuoLgNDSOzTg2qWz2uIy4SXWwlIBiVB4rrqdkhbDgcQjB1axf/imDGj/27+jzSDHMKiAdaWLz8cGYWVMJvXuNSgCWfny/xn8gnizWk16Mp4GhL+0HsA9rg8T33XmAw4SKYuAqh8l4XVv0sOb2Q9/sk7DNu+CeByAXDpDav5xvaCtYh+1CCAp/d79l8zNEfnNEtqlN2YHep2qZLJtMErGRhg3d2c7Bxn2U1wPuvrhiyWtQeGT0UDP/9qsZCjm5HmYakYrP1FtaG+qoI2/H9aj5KuyHVAOhGDnCn34WCn/Lzh95taN65TVH8jpOD9XGTj+0WIdWvS0zEdkmYvYzeiCWp+wC5se0hF05vnk9jdt6CKOztRHy7UYJ3J9NbY/QP4/bMVlIgikUTS7mbx8P38dERdBsUGez+Tx2ZRkxuasl0quoxKB6hOddKpsS0Jg2i2i/P+T2bYKzISfIOyTZJrKMqSRHBwlUQj1tY4e9qZcg9+DkEkhZBEf21GWJ4nM/a3I/kQ/OdQel7YaoFu8X7x1847mztuS4Eu5UD9XrVoIDp8TwsyacJWKyIjbf+R6+DEMOUShunB8Ah2+Zol6g+vE9WuAKHBBFePdQTJVjcSWgu86R5GGCAQMZWcFhs8dgtbCEqVwOpTVxCJJspthqNGamC7CFE7fvmRpIpZaK2cSNQq1lc0ye2cLAylsHj/bIJibELgdCBJrWQhHI7/WEZ763p3c97pHd/ATxw74gZwE/trgl+g+pk1u37RQi4b46sqcrcqhrRiGBxY+5W7gabiLvHjThGUhkz9QBDSDw1jy6kJH6rdHc/CiAeFfxdCiZ8HFvTHtRieLC1a8CkBbDFhuhqPIpGTnt4AG7nyyhD76/3kr7DEXQIjEB371HpwfC5SWelGkDt26CfIoWLYyABNWLeecbAoWxqBrnMsZH2UAaQBxhOeVGm/3zQzxdXYa2cqlfsaz0KNbW819Ehsjq22jVJzvvRDdZyG8td2YrgSjeQ0wtHqtxo6oxXeeN4LcryPNgtqHalVBFnXp1fUFElKBvNwjnNCXwzVqhB41qa/RjWxrSLKa7X+uT+Gwtbg45amA0P0ix+RsA0QGS2qfXNNxFMI/EFntU4pyj3nLjzNYVu8THeGte5otElNk78Cnsll48HLq/C/2ha5MKZPeABtDIF0kJ9PBT7BmZdkLbC7EmX/64C/qw14nSTAXncBkoKmF7ewjQpc36zn+Q+PUNEJeVmQO1eTiwwYYO2fj96M1aN6m67dhfeAEPKfSjWHERf9L58Gd1Tig1CRqhUWvCJQWug/8lPd4tt2YRFt8pAdik9bPxrBKq1IlVSfpCpeq9JTbIzm7RK/msw5bDSuD32oSR3qhnIpaEOgbGM6o/FUf2mpH+tHqhgWpU1JefNG8Ny9ZnUrmQxhKX4ASXTnqqOLI7N+uzgpLsbDeGFywcN/r32T1r9BzYnggTIKmh/m9mFw4GbIa2aaZUAXimVjeS4PwAJRedoOXPvi72GdZYmKP4IJ4Jl+ejXxBZkzMAkkaqEMg5CLyfOS5dKMI3pmKsdXjAIVImOlwFxnYeKotQinalU65dcIVjFoflzwulkokA6tiWQzRb9Hl+993To2LK90ip9IfPRWlWN5pZUisXXyzMRIF2r37m60EiCLlgyZIavkYdBsZQLPDOybETnByZU0wys/j2yL0WtLXmrv4U2k8uQ3UuDQesZ1+WD+bKRH0Xwht2h7E5bujCFKvEr2n8mm2t2gHW/wdFte+ZlPXaywlLxT6rtHIyM1N9+1lMYYo9PnX/s9zJa0oWATrgUNuR6FsQxfNDFiw8UC3YbF6CmGppmvXBU1NDoWjx7GLtPG4ixzTHyBGXlljNDo0O/doxt/XQR8qxG7fysa3rzU6J/Kr8VVEa6CPzmA2XEjW/hwylTHF10DXauK4qnds6funvaqyLQ4n4WClk4l/lrS7IJALJgbRoMcZnlfoKnT80MisgTj9raF0NAYTOFlF74lkzTjqqPbTx8GGiMEycaxP6TYY0nwKx99gvlIek8nwapolTxTRbyjZllFLInMqDJFn0dUSYwP3JAsyVIyzXNZJVKVE+IAzLzcZWY7ZGiwqLN91b/zFsAXY4BgrFDgF0ZV2F8acnbPvt3hv0CVyVow+phtec3yplT1pF2Pygy8sNCfOM9yizTnX2QD4xOgpQEGfjsVHLy+3GbOht7CGN3Dr14q3zHTQBELYPvFT3fpPBChzAwq0n6CA4Bxrfs8apFapC1V5BdoH3H3VK8x0ZVhjXDaiH6IMnLjVcwe+PuWBlGVHDiwg8hnKsWZ8CavknCRm8x3lWrhsJYybTdB16bsTsVwuNika/m4Xl6qx8IZT5pGAyYJ7NTGi5ZjIy+GFMQ3ps5vG8AUEWq4w4GD71sneLjBOmxVLlYjvqCeK6KOEjnEHHKtKMIc5+337dnVs3ooS7qcZ4TiC8EVqws66nh3BTQZPCwpxjjzrqratjMQQnk7As0e+TJjtNbQdcKCXRqsQo8/FmjSup0hSt3g29cSE1AkZBT/kOANP1AbE6Cr4paqN/kxFkWUWEHYKKYlJSNQ8PtPvtjC/xaJv6KKN1Ap8hH2wWN5uFVHo4h7gX36zmd1Y2RNY1lr9Ed1v+qc6PKo5filUKaERmmM5tl8zWcC2ViYVauPen3H78FOtiwqSAmKFrs9C411saNSpXA2vriIg7jCeDfY/96M2Qtdj4mrspGLkz9A8tmrW3r1+KEK1alRaNYsEFOEbXF7lgUhGBs2fhR4hb2KCUO1IgK41venX6/4rjFyGfnDb0p51N/aPECAaDezgKcponvKmqyp4Fc9kDQmKC1wXT0PtIpryZ+L6MrQLBhOEze9BmrnnJdExvv6Bc9/wOD/Pz5opsuQ2qAP34EBZ2XNFBhMepwZrQOW9R458D2l1ZDX5EY6ED6iwVdfXnzMGGb+duTyim/dgXIQ1EyJn/pT1bNYzfsSx7sb2wcTBBhk2MUetsacoUy7Jk41SlvYkQpo3B4gBLg/0KvCHu0nr6Smqd7zvtBWEF67O8my9zNlWtiF+c0ak9DxRUToSNU/nACB2LqvmhX0jL+7ufkQqwCgo3992jbaCpFNaMVs2HeRt79zM9OowA0/D+YQQWBrGkY25tynqUQgod4hULgKhXKA5Z8eu3GdtlGyXeEg3Akb4Eln9xz8oVzbL4ihZqUeB9b3N0mukX6q/3KrQsCjH7YIANlR8z+TCG1L1JNrHfS0q4uFTcFxMlCokhEfeyFDNER+ISpSze7q+uZrIxwUeGC/CrUvcoetTwohR878YDvAE04UbpqMZaKwraerNDE1sAvvXnQwkHIdPY56nVvv/AIY6VQnQCsUjnkQy8PssqkJkTnTb4u41HMitmGx+3JJztNAoPHOCEjo1iVNAHIRbkHM7I286qzMJXz7NaEBQk6z4zv8gv4KaiUbAqZwPyW3Ds1PMMBBXu4i+XyiBKPr+eJqEF6wdUDUL8gtIhCBvA1MFKRuMGGyDtFEWIm46MvkqA9b62vFRYCC0Z6a5twb8avPEqZIenNPrWYjV1fz/MlT0xuN6AxVsEn/2YiUHsQFrfWtms1nDjQiDldCrqjzHisFIpNkjO2ufLI/3PYt8B4JcPHCQ74LmRoZiFbz7urEzZJhE56UQ1vINjv/gbKgXg/YyRmV9/dbshnTK7FbY5dul8mub6PgPQeVzxPe/VhYy3bPafNon9CInetdAFtx4xsKUSW1+KARjgZp1DtYiU9ngJ8+44nO9SB+6tGU67LGNIvpS08+AEVMs+lRI7AuHTOdPlTZa1trBniN1O3ScP2fiONlavO0DnkkquJC4bgNHg5BKJlsxTtcMgwCI7iYIlUUG+An/O4+pOwafUAh/zM1KKbZ52yspCQMdY1+dS0lFx/Kto07oUfsoHEWwLEeXe+XNaIZJwD9+ZPSr9MuZGsk0zzB2Uoa1Bc0B10Km68kGkuyJdL9goyrqVwk8uOeHxdCf59ZoWGssykSH7a7fwTNw2yLKFE3qEH6d8aVmZjHXDj06qQ8uqL+2mMBGUjuppsHnJpcaq6WRseOLvrEq/tqQUs7xwlQ1RbdB3UxnEL3ww475MhdiGqwH8fQBYa0zsDMb+loIPGzqKXekvkGodaTH9sH20tkJQo2CETL8xrmZqKeI8K+Tr77H8mWVvAXAlNrLlbQhc++la6ZQ1vVyzVENKypTaryqzbdMF26KOymBeUb9Q/KwQTgU0U3zdRxAFj0JxA0toaYjInDyvoiwA3GGk8/TP0EKOiusdl7duguRFlUr8h9Qcysi0Has16xJKaZodC7hBlK0uW8GrdVpkAFV7UkT5FJkDVi/iaIBhVhZvX4iCJE1PlOU5FjeGfUr+LPB65qiWYXUV+In8wkfTKdtomZwefdYCwkyABOBetyKy4uswZkkE4O1H/pCk1OPnp6wgDuK7/r5nR0GCsAht0PMGTHJbCUPr4ONLo6z1AepLAt8/ykNMGFkuLLFFYGaWW0wndZ6EusODvnm1mEixyxK7dQ0BnF+xgG83Ql7oGLZ8x7UL0clRht8YoL6o2MpJ6M4xmiuwMNRMh7/NQivzDL6rt4oyl/6G9Pe8YHUzZj06pw6fSHHq59zfskgYj5iY92hb9shr3zGY4PLQc/QS35taV1CQmMKoVnCpawYbYfKhu3a+3Aw4PFaAeKQbU5jH5VUGC6WJq5b09jy3+ESUNeoloYxxxW6qEpey8LK8x7eRGoeUMBdLoDLG7IycC+I9LkUtURgmT1jBvyYHcq5Uz3voWbhxsZyA0t7xk4iQPhnVhEj5IvkAx48kOKznaNqHg0t3A6Xx5oFyonllWVykhRPh5U6dAY1/89jOKn2Bm5ySNPSFMU7WmPvUOOEeM7SxBjaNA39FlSslyXG4lEr2YHKkLqp3kQ2SFaq6nECYg6w9G2Qu+2qFO8T0cMLBnqAQEaqS/KwMyrbxDXQwkZAYWy0alUgNpexmfmM/a931OGJhrlDVqbOKYjaNJ7AEr/OUoVh2GnG0g7mk5qIvrpAWWEAbwh66kjVPI/X6/56ga5FC8rIFfr3hlENRG47aHzVqy2+iHwU4lB+8SjbO2WROswp+FnljnAKQfXUH7XxdzlA6+4vUuA3vY7un70b+7VTEI591YEp3BGwnKsppmfj2DE4DpzvADAu9fHKfdjIOr8IbejYU6Kw/GSVMWaZROwHH/CjGvsWkCnBTBC0fx5ReE4PMh5UbqdeWQ5iRGd7ULao3qvPFNplQ2O59AzYSnE5HKIFU0e/PCJMc1EZbQjsbhnWNEmVWIsseSjYtY7eWbhoCzC/IAo9/3VxTUOiynEwfrB3W9aJHjF9s3flSFs38E4rit5el1zA1xaVMkiRRIWiqrAmzAs8iq4xLtLWTESwzEqGFmShmFfuX1MkUdZLSx90Q4Mby6CyLytHF/TnpCRP+XK8eZBz3X64SyCjHuEbDn37TppJ53VJFgpcU04yg3wZ4prfUKenIgItE+Skd5zr4BsXcbG8MO0b1KCbSqVeF23XUpSMNEfoCdkMqvgHdHNsEWe5TSa4XlOkJ4BYvh8jvFrYMFTGz35Mr6WI/NxSVtCvlPzCVIfUVgXSC/uj26bNzY/a09n7Ow+jKKuA8hUIhob+41sQ70bF6y65dVlOTvan3YNJJGD3PH48XyYn19NMmDH+uXs47DiE/kzDhLfPsxvXURuU7OKGW7R70q66wyAJ9vqErYdxZBcKY+ClwC+cHeckeclFKA4EAgpYVMjM2O5r/n9phvBuYAL4FTQrIELEwGyAHoSeY0o30RpI0uMukO9kYJB3PiprezlUnQQHp5nVfpV+5XIINMBmZRDR8n5kJAV3Ql14k6u7gJM64L1ZR718zpTqKj2OsTooIod1V3pous8ySHcaLYiRLe23ld9e1FXVV6iYecitZlRocoUiAe7B92msxVy/UT8dwVvQRzJCElNyd5dc5DPGtozfDkG4tImWijCtzGjqAf1wVq5ID/Za3eMsBYvZQ4u6GHnRzvLKbn0d7tEzefoVX7qOwoyVjJBmNT3fBdd7o5fj9nG7cFAMVSbnFgVg9RZi7RBIZr8PqekE2Pxsdl+4ouDzizjtA9NmKytWlfjoAPZLN5Yd3AVam+wcF7lc9B+gnjpVWZ03VH7dIu9+3AvCn/ONsxhxWBpVbCL0tB9DKM97SqBoyFUSR3t1Vpcqf6FpXjWWDLo9O+X7LOp1j+zE9HtlSjLI5t3Q1bBsrAWYcZsUTmwKR8OEFJMqpJs6XvS5FWtilpBTz+wqjxkLwLbalMfhRBS7ti9KOENHhMRlqjM3utn0E5eTtlOee3pDm6ZgYx0ahahah+zz7atgu7QYTJP4TVQ6vkBvE5DbyKIoBvqGv6DuNRynW3xhuWbjRtawyHMAJOaAjx8vw6uwOQZKbAdnPRQ1zfd3Wmtarj7V19UBrWDVWHEmxrWR+SV9BxLj15141im34RTRdGAer34EKJbwcTKhUJUMuABr8FSNhf03CLGhhC8Vg+K/+ceKzFGZKEN6xxJFYlbsDPmTuhlCWTIDA8m5MNJetOjhENiGXM9f8NRCeqHeBC/PzSLp4sHQVgM2MXdXHYf3A8rGHgDCHoJH1R374wEQfAD70pRGiBzd0EyMbKiWgQfGlwTZ4vxNCOYeagZU3/hEV8Xwb8zYmvrKsKUaMTUgAu2XKRxLbwwb0F2ebNwwTkp3ryqE3eJER93YiaeOA4SnLCGypjs9+0wr/zBDELbPM2BBsNdTKgZxf1hQTkE7yMpLqVqM+QkP/8iTiRi09fFcpbFN5TPjiwRWS6SL2Yn8CnyOxY5NSQpqMYmmgnB+pLu7TNkONgYoivQuCUd/hSEPf9g0Yng7ublSEjbTZk/OAwy4lBThjmm9vA+GnjSbSVzd1nf9UoDtpmB+LUtnZ27sNc9QgA0vu9ElpiiVdR1XR9QMqrwetXwWl0agBwHLtld+xP+CwyJ6yBH03KoKEipggdEz6tLIN417FPtzIEuDzUMVZeKSM50tZ7H9Uecb0w0U0YnBjMAhGuPuq5kog6Kx7hvkHzByrQnDBvaIP76LUPHNzXcFGlkBK9aNqLzmXeW1ovZ2to3PW/9GwacIyh1Egn3FxbUq+IMxcbhZz3bwn2Nxe9hQmi22pY2rKHvU1C9QRpBUlG1NaYFsJQDaWNW9ebSp3o/EXdn4ruV9fc+tbtNx04e13i32oJN5iWQrFND8fVKHJ0/yKE/OE/63G2DtG7XflTNuJZJnbX9XLtbvEwi2eNoBUVMhuAT6639ApskIKeSXeHObHvgyVARttDZ+/tLxHS4LQjoqiH29F32STIdc30r43ABSM18n4AZrD47U5gVX1xHjO9qgcqsDNMCDLTE7z/pxxcZfb6wEq/oEmryLZ64wIpcOT5sE2/0Jrwn+T6SytnNRyb2IeXt/wpomc+b064FzqKP7Cdupk8S6nN30mVkNtm93rz1auRf+CLM6FrzFejUfaIXUWbKHW8BSIA29PmEAZNHrbAC5IYmrcA1DZh2gkVsj0o1ux/3c50jWJVviRwamsHuiHu3oyXO83eYzERe+Nuyrm4o6qrYk5is82lTfnyGqdfsD07OlmA9XTy2rMhD05bCWvNoGKBYli4tbAL4xp+LB/Nam/80p7FHCaKuYAWLIobYNQ6r69ts7B3FIYYg6B7Xs1NlQoXmVQ27uCaLKiX4sQOARN6SejZklFkMF9Fqltv3UfZyr0QU1fkZ1nBCKBXlzq/FUVtlFRZGY9f0/C8xKRP2BydOkdv7OJ9IKaJqjG7XhXPwfEdHmSf2dbvKWyuIIKnUVvkTpr3s+F5lsEh1qjS5LZ1cZx9BEYTFV9hjLuQXif0dwN/dOTD5hafChe6E1yuiwQHpu0lFTeqSoLHEzKFnVjDa7JeZEkLD2FtnbTyZHbGVIkaxcZsrBIXTGJ8qpkRMWx0lbWR6669lMd3vIr1qiuLphpa5YKmKEYI4a/aGWAuivz7gX0H131H6vPh6hwGaj5/NzZdTbqgdZCXXmNCqcsOUH9NnbAy1DctwsBrM4bYPlectyldqOX4iQmSFY/Y+PHbcxDFse8ZKKe8+caWgUdR3qUWbcvy/TM+/ADJ7yCfjj1xyG1g641rcdx5WRxFg0hedEeney0fY5e8hqgi01Ua1BZBReffK2+TGg9BGzh4v5bC38YgwCMXTyLs195EZC776gG248SUsutzkRbB9oJ6rU3mHY3Ukv8wPnNG6x2mTDw/3aLvrMWyfwi2t8qfUDdKCA9+twlMFZ51a2e0ZRBq5B3mCh+YvrOrywYr0UwE23uKUTEj+VieyLSFJaDuQKxJH7TXt2dEskw8SnnMMgAQV1ubgmV65Kj/igtgupJ4lCyaZl7dxspjrdzZ5XKC+FLrOIjYWB6HUNwm2rW0qSTg/se/QCWH1Ncr/JN3yyRlqgXR0U38tmdnXS3FMruVp+oCSHYhZkk33Bfe1LG1+Qi8ggaIca+7ez3MuIt5V5wJltR2TIuuM8ZN2ZaQISdPavXdZvve4bbGJx3u3FeoFmUbhxXsg6x+BvhGVKC67B2CC6NzpF390P1EXLB3VktqujvVmT+4zpC8mBKlw+wY5NzAynCg8pKFpISoH8tp2UiTnTsvrfHFWlLNMsFahXV5tgUx1SFxRhwf1yrLtADzB2y2R+A3q7bY61dAxXvDvOH6oq4be88WI4XjlWXnkpfu39/D8jEErOiawKv3p6gEa8Jq/loOm6O3dfgo0Cyof2jc1sd6LpijYbTA7QcgO2utCBL1dcgu5zz93r26Mepa9U4wfFZq8nYZVy/aLeAYk3BCnKoZEfqBhusQOf25aPWihQr5SZgoyixKqnh2xXpyNGZ/c5ZyNTfIwNpUB8vqCnI6qLb5jZY4dz5fPaYlqqCgKccnxuu+izXQACmLl6RoWGmL5MOtERCTNsePDdTy4NSzRQoSebh7qfEp/fdVd3veNKsKLBrRvcPf0oGL1yqACxkRmKLk4jULBILksZ5tF6g7rkvj5tgfKLsUBNV92E7zHHhQDiE846NwOUINgubH3FnPCIdlqOL2Y+a0dXo49i0mb503gtnjq8whtdpXk9l1QOdpUY8vccqXchL5TR/o44vqd4cC2w89mVlifemqkbHpNed3Y9NgNunm905wzG0ZXIw3fPsbIAT4NazZdgMnxlubp33jNFB2bu6czUagLLVzc1KQRH1VUCa7YJ6tpYKP4EeLuL9XafF2hbpOEQQkw0dJX3Tn0By1BScYTyatHt3PD3u8H7ivWuhUMWL3+1QaMOCADdUTzIFM6DRb7u17eI9N1tL65U1ywBL/5yLU8N8gp4d5mxntOBN0QvR3IcTUUvfyOQv1pdpus8TkVjULycvlKhMBcC6CvQia4+/2O2HL3TG/0TD3VHodLu7v5sR7WQziamfTsf+ZVettI+vqTAhbh2j+pl7nopcxK7xIqVN0a7HXSWvBVvyUF8kHr0I4epN1s7Ftcg/MYJXuKYgsJnLlalLNRmt2LsFtXQF95EWzIJ4Py2fuO23THHQ8KKQS9MWBrwOZfNLQKNIYzogtVcmLhIb5R5Lz1KxW1UKJJKSKGz0H26p9nzP2M9lKjsuklvi1EJMTGKHEadiuGMmzzjuJTZgutzEbZAlvwOJrqoKG+cmwLUWgryF/JBwpBt7VG4KDkbm7wBTJbyph/z41UVRqjvkhPDWkO/0wjn2lq8RDMyk0H+NR9R5oyOpVkI5IYj16hvm8ru8CaL3Os4vUQa/aCjWyI73i+i00jclXoBlVN0BzbDMt6emKxfm0atGW/nNB9P7LCYhAczidd+C6uomsK8UEoTGtnCCdQ2/LRBTWekVT+0SomEe5V/y8mLxiVy2dkmQHQxXgCcwSogQSVqdmzNwfFutKnWKuNYzcn17rZ/PFkzsljOB0uCM77415PXHGNnj3lBSy2/urNJQA4J0bjBoWrFCA5neaXNj+2KGUtmfvKV3vOg1ZQPRvIw3GHlQH2rwj9DViH6fnhGkjbg5oTZ6gXKFuSMjhU79EnSu51GzqAOCtWNuGqQu0ZkgOTP5XHBz9R6Hjf4pUFnZe38CL/NVdMCesJl6DMqW/Xdd7FO1vClLojiT4VXnrwpb8mNVILjjOo/aAIt+LL1RpVRYvQv1/8Y43BEyihbw73B5gKzA6par62OAtqHr8ulXDfhMqdiCheOJENyoefWt6ktwuuA1o9Ir/CEh6Ygws45MfET9Dp6xrk0X48+9tCjwa91TwvnaCl1/Jt8/wrpBQNW/1bl9Sobhvkfn0bRFKKMeNstw+JweqQtSTHzAfkR16hHuoEC7gs4XhjzaNXtnroJJROwn7eYH4W/5lgG0OBRL2G5C+TGm3TVSeDRSGFLxmxuRsePCfajqgnDvOpsXmZv1+n2neDE+cIQmlvIaoE8MPDD6mCx6jB3MZ8d8F2q0bjqmvxjum8kMZH5H40hSa65T/JWWmVC3hZlcCgvqMUtFttuD3DXWW4trmgI+taspLIHSM1mJ09bLBQRjKFT53XlTYPInHBmQwEeBDNyOU7HAVESp7FfJr299DdmH/VB4MYENI9rOKylfzQXiy3+4um6E8g+Mu9f7/IJKM8qn1v+qoiP8Xz5hALvEt4yrffSfQHvZTPUEFCjOOCW65jpB4t1Ws1yIcJ6gsOUybikqrqd2eqn7bzjDHlQOJB8gv82Mb63OnA1+gVBhmjxz0hO7uzKTq4YKRYey+iqWIw3AG7JRrvc2L3lD36K7nHEti5dkIfp0HqnMbiuNEWnGjjaoW9x2EuUu3IgnCTfHLTZRwehVLqJAiSHIEnQ5yPj6zGXimDIvIX0OYu7yXtr9OcFwCYrIY4LUWNVVHBi8i8QhezgLpwFDMSc5y9ZMIG/GprumhwBGYZHEJano9zsTyNTabe6DrrmfbKn0gc2wjvnYMmIZrdAOfIVuxWFn1G9K6t/HtFs04bFn2ZhchISP4V9vneQ3S5QeadDscf6WYFMMLyocvtXGlEW/0rZ6MaE7j0n2lrx3akIswvPmG9qf1h4wLrP8Ua8Mtygw9NN4KlYv5qI43uROJcGykwsustbxGEKv2AMFauOsUZBl9T98WjCdqv5oSugLLOwFZHq0QoXAvjgDa5cbIQczs5DY6Pp3xIkVaMSJUo4uz33G8nl6G7SzZc5M8eM41+RWDZj6V8tvnirZ+LWBhNtnVo8e1bOtAizk34lItcmg0OZK1+VhrIt4dgISn2n1IZRNu518UJgVIvoc14iv/wxC28m5MAJNbCBetIRV0n0kZrxB31rnDwh6TvER3rjSTp+VcYuMyLRU7gF1RdBY2wuWrcNUJtHoeswoQsd/M/LG8vnuhXPJh5GedTYvxoKcF0/0zTmAnH8+wXOQOYFD2hjFg2gUFMjBQxqM0ILyPbTehtIcmJxl0AhKomq3Mpkyv1t7gxtsVuGOgCtB0kU8WwHskmCoMFLJ2VNIoX0ncdCtwLkxXCUeJ7x9Im3ie/zV08HJ2PnIoKQt7l35qbd8xy5cuCw/HzZxlDndKLoaAbuHg5ZUVLWSujzvmaDKFmd4dR7VDtRxygqFuOH32G6sJFDGG+CTIvrWN5ObONLKVKRmDdRILH1kc8bzYAeZzK1jLV32w9fIcU7Kj3xpqZ+NsX7Nqp9DGDN4pCxUob+BDawIOihn9HbNgYdZ+O+fYtKZx44UXsxytdIgWgR1WCWuEThqTY7OVE64JxRrd6RpM2HIqDklmfGNjjdBszd/4GpcBK3QNitK+WBt+txuw8zPTB5So8aHlW3cw/ea/Z7Had+C9DW6egl9em4dQJeOcP4uk149UK6Qf4hiimSwBawVkz3M0cW7j0aFRT7pQDwMT/PnIWJOJG9aStH3RW1RrCT1XACaF5C6wMtT4eePyNvXCoLyzldKE9WOTETWlmF+BHcKS5ZWeOBhc/QYukn5o3CfSy1NvwZH61p/aUFnfDv+7EwGSTedODFuzcsQKpDTRHJPWGxfEaILQSBd/ONXE1DfAMvh2kCbGZ2/bg9ctvVa65YPyz2dxAeuuHdSYXaYzhjHdTixaeTXwUh6bdzbNCbBUHhux7XT9666jqbYllbPhbY9BJoJ/yjLB28lcCeYZ2UHmHcjsi+rg2gm5LTdOkf2Hnbcv3odbi0hfCZEJsmFKW1ZM274gYvwtR9lRSVoRoaWrenVyo3P6NqaJu+kXnacz72+QNmlk4OXDoHblh6ebvH6/sBNOyFL86mJIPwjxLoKeZCIrh3SG7xD928TaPeEv4ilSHeNsxFZeWAzs7NCRfnVPjwstJPMFqz7TlmdygLr9R/mTt52DnniBwURw5ESn8doQv/fViSuQHKU2U4TWNeoPdvdGCcpWJDtL4r7UytWEP2lMnct2q3VavAk7DbQTEHWuFGYZOUaGpbuGQdf9w0nNEy9SJqRR2m+EZfeEFeJ56D8CdBktDaKw5+B9Rw7xilb+sYz0ANccIG1wV2b+v+96lwjHbwaZvy1Tpc5uuMqn+/M1SgaAZQj8U8CIHW55kDlvSjZqN5jmWOo8UsK4TR0QHkiLhkxRkNY9BlM2aWfbateCDM/Eqa/BMMQz0LIuSVXD414TonZwP4P3jNC6TQfHNruX8v5UjT22kgSq8NPWz2cDGYd0LFr05lh0Yey4OdLr5517YIzmDLBZ7J8pYB8p5B1k5B/YXmEl3bQAzOdXoih3scEqlyfoFel70UVvCGHXWqBaLrI+HIrWHJJas9Rvc9NQZV+n5CvRG/Mo8rp/xyyjdzI3EfGiMDLu8wdtUQxLkiEDAmg8CzSuDaABp2w7hG2/EnAHVxf5QdEy2mQMpzqr6oPjUAc0ylRZn+tRAFMqA2JDtU6SzcGeC5gMkDhjTZcpovufqw2M2eehr5zrFuZy45Gwz/irzBqK90J+yHcaRqjmsGySLRyWAOQ/XtSGzw3Ke6G8VzGIfpaZsELANqvYW+sJrPj+GiUqwUCunwNbreQamjtwtqMBEm8MsZPEe772qJmHuds2EYIMTb8/8x5QTneZd7CboY6wRPg50+7O7oVdgVEiQxZHjGYMpMget/xqjD0Hy8xzB12P89oK4/4m1jinoU3EZ/G14CeIg7Bm+IM7uNBocpPydRZ/agKKT30XTpEoSZcGAE45/KaK2MFfaMemgZJ5GLVRotj0xhPqeS+gmRicbpqiAHNMEQYKdQpWGawNy2VWACtHZl7C8Nt7zEhr4fNVHtNyy86rwXZZ7h13EoZu285pVGont98iq9d6Isye89/8OMHEwPiu7E7DhVwbFD+MwOtJaLdQvsxRziSLqKolYRGMgyGxZ63yXnfzeeW0DNe3PE/SqdiZfkeV+rdCywPwUBpIk91eCslVu1JCMM0fZpcWusCg0qBA9GGf/8ePK1CZKpGceqOeGWC3hud4vUBI0NXq5Ug765WO6jVhGYOLJDfaVtrh1Pq5tcRvoKPW365U3gdOaSsAnN4SuC94y/ISutiFZmtyC1drKYqCcg9J+3GvPz0ccZIymKvoMq+CYs8NlzqBTI+2PTO6l8aGwmcBaMZeEV8sxOYrKPp6LEHneWr2+/Mxek+onvqKp60TRK7LNdvyl5e1s389HlaPfhhZyCTvpH1LFpywqg1xKn1HaWvks431tgo9k6yMsTzutNlxhkeVQP2gSZ8k8le5NBKo1pF8b4Cn0OtY2g8EokNVtoUMo7U/q/KAb9uQcOY4EJa/HVOciEG8uSDuNzzW+acE8u5YdoSCGW8YmoLDK+gSexzJaezTD2xnyreqKzWJ8FOkJ9ZeCqt+Kq6KWKSpLK4Q0WnW+gQMjF3gkdgKnIIGXahT4Y9EbfAu/jxSlDoazGpBcPnriYs+z95saIGru2k/WLqSGuCiDeOiGiaBo1B4uoRRR4lgLsdrSXqQcigkF6HbEd/vJiR1kdYQzsO+d3fdgUvIum5PpmdvDF5K0CyH+8yn9jU6rZKIcZddL7KqgyFDeGWOTloAQIUA06o2lwJDsMuw+xeulzkYSCloCmcBFKmrTNKMfA5msRzftrabQy8keQRednt3+B+oRPXiHfjHumXxmqG1S8s1ZcO4W7tFzsGSmeEEwQ4kIoqMc1dpixzVRdnG/UYShf4/ExSdA6YhAi8eKe/aOcY0IxehZckNMahzicAeVT+pJr5OI8Z2gbPma9Qq89fE7tWtUmEj6EAgsyOHbqfMGMJtWuxWtCLj1sEYXoqxHHXhm/Yc5DMM43ydA/B0oLjIUMFp+dY97uMEyqi+Su6Cyen3ya3Oiqn7E2RKLu46kMWmlc8YIn8aeOf9UfQQUYunisMdyYaKuuB3Ld4IY0cfS4TR2qfyoFXVk6FBxPDUSjxxoKXOUm3GalKb2btBVRfV1ULDReqn6DoI8o/tTXj3heSAXM1/o/uHy1vSimDZ5Bd3ZhRd+/WgSfUq6bupYNMttIPD2OqM6T0Oo9+F3KJ/ufDMBeu9WlHd/rz3YHJD/iE9tW7rlU3obg5Kdw8id1MFC22pUMBYPdY7PAFeIph6kmnzDyfFf4caytQZWeHjf/AKiSVzA55ngrakC1LRJSRtDBz8KfMWVkEhjV/dVsMyXWnbgBQbC9HhZ6hM3d+kqWHvPniveGEWEFnRcM+C7rxXnSsZwsSZu5w8hp9b7Bv14jiCEpRz1g9mniUNR7EbJKTu2zdYI6+4HvKnmfEnq0SixwZbEVNvlmUKDtoXfGI6rYHE23fcArSjrtcHs6DytK4qAntL/NxFXtd7yzcYuhiB/fts9EcEMKYNEVZa9ASS1h/uvjoIF98rmB17KzeqDFo2PzNDad0UpJNahl/VxRxm5svt7/kHwTkXA0ifKucYSY6Dg258yszvFbNYXOiO22tWCa+WxCwMsFLDSYq/TH0wKC0T4syOcO3pCyGFjJIwJ+daL1YdewtYMLbUfbNpjUiojY3iJ8JpGW6mXt2FJQrnCXw1MjCu7/au4ASopTPoiDN7XW4XhoSAEtZCiqvfpXidgQpw+TxuSpkffmAdqp2Jlpk+x3W9yOyrshBmSandRbPnJif2RfnwDSlG3ZO25zfhA4IkG9UUs5xaybROGNJiq6D4KaLI3hj069R+My7VWUhiloXYerNk3wXlJp5l/Hw+i30AHc5xt7X9cWFirxvPHp/mswiThFHJkIUQlHuxEcHJx9cRPdJgHRfmHl5nMrCk2/yeCWIYq51Pjgxx7qOeVfRKV0DhnbnOSN98Dpc38q8ZDZE8rGnOc3Id3vyh58A/8RUZ51ivW398sixz2LP4fyW9qLuIHnKCWYmtM/ocMQWNhQV9WbWnFQw/KnFG6BKeyesHQu/TyMb98l4UpRcTCd+hUq3RTSrgvZgSN5AqQHR1LzyS9o7RKk5iycfmRY0zZ1l81R7CZgFS9Dcs3XKMpGMt+mr4Oi+ADiW4tuRS1oH/BYa/ILT4TBSoKvy7q6RXbRUf41yIuXCJKtMyuGXsjIXw6+RqfVlvv95noIYPVPPeiLK9cepyLm29ttumnaiCs6S5tUzkPsCzvlOZrMyct4Ao6Ai9kaK1xQLykIWOXof0NP5niarNL1bp/R+rJ5LI09t/Su/zzXyqFRJD4laXlOFE7eQN0wlNmkmdS2VoA1AC6Vt1kNr89GsMfYoHhZjApZFiHWgTqYpsP4GIQNQ2ORiDSxfzRnb5RZIToEcH9MoZg6W/owMB2Nnk76eugX/rxLCshzeLkHu2bfYGiEtzUKXB94NTjKvIyWPK0JJRG/kE2m4M7WWkjm8Hdl9FLg/XlyAdDgeAzjZ/Nf38CAWW/IK1tXA4zWLF2CYoiLUnX+85sRA2KPzMBhDxSxTtOyBr3yZXfEQLDu6pRJgCgV+by22FQ0MzMRmMdD3MapTg/i7uPV23UughJB8nToWDlMvDYdih0K1GckaJZZJrIcmOZdjCLCPfdeRoIYtpoU2iuIpH2d0GJOJmMn0mSd2vcbApJuGl3dTBe/DWxs27B4BWUH60vp9UYMItlIBrDFLbNZaSJjuwwTRB+LWPeaZAjnMy9LtM6DSYlY0gODt8EcpkFPIzU7clsBC2Eij67rmCE4Os41nuZuduC51ckW19pB2hBmWi1+vVaYam3KTk7AvwR5Yxe+QQxXQryeVyVyNwpKupYrA34+e/FXCQLcT0Q1iCu72NWEu1dtASx7f3LZRMJyXEXcswDMzt7X6Xy0qAw4KXvz9nKuU8zIwCp65iksweEfnxpGcoDQXCxlXuyGh8APEB1LcicR8oge5ESbfxlmNi7eCdZHVEW4ndeHyHF245+9RsqDVv1/1sAvrEkzFhf9HiJvOcmFcRfa1fofsv5ebHXSWR6os31o+pC34sW2QBgTXpy/Y4VtZirsKAknuN5Xq5fxfq0alfHsVlOxrblVnHjECSlG3r/aosuC1lRql26o4Z9wRipsWUIhcRY0ZRtR5JIvZAONUa+4PXEt8YmtkQf/OgVV4sJXofZ7+ykXRe5XWhlhwNtTlpedJuGex8DF7pnd5oIgiwRYpx6oNFzeDhA5U/9oBsbloOs1OXFykVDpUKkRmX7I3X/VYlJ8PJePHxioDtexaX9RawE5R/Rgpc/QwcC+/3nmAy0OxM3GxR/UDGRQ+KEvEb9a4BXOcX0nvn+1auIzEQepDc7RL+AFl5xMBqhVjssIDne9cM/SX3iMioOKsr6lR7GGYELfOKo97U6j2eFYwiu3jrt89U0KYYXIVKIz7eDOieyY3ozrFK+h1NJcpekSGIZGcIPxt0mQBfe0v7+gsXEq4YLXGCD4TF6pd1EypHVzM7tETCzSgVb9cgouo3ZlZdKJIjNLbGGhnTNwfefZGxZv62c2tbs/CPavoliVbh+OTBAvO98ES+S12ZqjwZmju4mTEV5nztkVZ8UFkwkQugAosf7A72AUxbfJnzXFCgmSOBpJ7Rceo5qnBuc5XreqIVlVqoexyvZjI9ga5UZ5qvSeSHb04ygstD+kCL5wP7YTVf/utCcg/KdPTNnzGLiwc7ZzcZPLvSSSxuZAmQDcn81LJqITHzn4pWoqFCfpznGLiMSLQ/tyv39BXh01kfagCjrWe81Iz7J9pCqhJOLkEdg3uLAmFL/ILWurM99LENuNWHuzQn+/CHUSG/cey1urZkwo3zVAlLQffPkcc7lglGRTH07x9m+xtTLrKJY8u7Tvp3ocRyPb+2FWUfN+qSjnu6HwxEMdCWsszWYqokz12eNciWH0efGL5+NgwEGZBFU/XeBNPdms0tf2My30dXB7Esgo05M9zVTROi/eP2762KvekM41XyPO395iRqG4JlVmKM/cltg6X/kfvClK1XvG+rkkqkGoCX7WD6n7O4x0YgB9C0mSBZuQYA2Hrcs9BZFA7VGXoAeKF3evQ7WNTK5mVKefBlEK9kf/VV97UkYGNOG2PP3SasY4V7iaHCaZvNJFc1tdgVcUvhqrpL665uwJzDIPgG34UdCdLCxZb1uw4KhkwsEbzY4Twbr6Z58xTUip2zRd/SBa66NN1N7DQqvZxsLnlmLa/cd381uGE88ouBwu9KcSHHoT8XX3FGbLl/EU3SSot/XSfc4dWvQBNEvG4yGFIQaGBdjTRigsS8+77slcRHroXc9Xgxt1ROiAYQ463NDuLOVt8GUCU9CGOr3CK8gGFvv0sKOwjRvoUsux5LcioChHpaVGnzC7oaLCSHL1wtFniNX1qhra5ALhXbaf808Y/Ic4yLYBuaZGaIjMg8KSUA8Lb56eJyjugjRBxTksLh78HxhhyD2/jKS5/G/0CtUOFoyzcFGb91oJdvMtxXbq9kgjL8zNBklVc7SMMoGufDSLTGxPiLXC2gP8PR1+BEkar5AL/ukJiG3LUxThkLiZuIa6e9LsdHnCqVMqR0mruhMXUKgCBQAuTIlejjIYolBiLYxmpJh7HHR4nQR68khTnHs0RK6v/zN2Ol2BKyciPrQAqcPKGsbLkpGIermifraVc5fD8E7BnJ/YrD7TV97Hw23tucRIvbFa8TERlr9L7lYgWQaqBmKP/HBhUy2//8KlMKHxIarc4+1pjGaaTSz4/U5M+SRVU4rNVmM02uHOZ1g4fBwOy99Xwv795DTDQ66FNu+IaMinDimwiyB+9E6q4yau7cz5atauydUKCNGDjE3GNrVrACCOSO1FkTQ2kxw7Lt/cDrcINc1flPk7VRreR1lN0VPYBjrP6s12jVghXICKG4osT5ZHLLSAkZd3Q3aD+0HPUnRKvXvBSIAeRuXW0cLgHGhQ0gLDP6D1sP6iFuf9kmMRV0ZkUjVw/su98jHSvic9p9VWPq7elCF84W24oRX5TC+avTtADGnf9UpoSIRLqj/xKjM0ZEYEStZ+x4g0DifnUN9KA9goHco1pQwb0rKGXMcoF0LFicE7m1XmRG+wHhSTOgHXGovtDq7edV34HcG6rSwfYRuxV8Wp8xldwk3gm1TANxq8YtVYd9x/hZmnKZBDWIStg9htSD9xuOlNMa19JZqRQRCv9LJ0zQO9m0LNPBn6zRl1UcKLorq/czPXpfd35UxTirhYGF+NVa01GixmT0g0i2XpfRpZ219KoY5ZUNWoeTvzuQir7m+r+TDUsUaA9Ht/hG16TXvr//+tF/2Dvhafs8e9GbDGL5pDmLcoeoLQx61zszlI3f6goa+IutG228TjBdtVlPFTeRv4+fKz66U3C9lQFWOW+1Aqbo3UihSGI/CwImOe0PNUfBMYN6mrBj/dA8goR8XKqTL15t1WAUdEviiBqXgQ5Ep9h3Ar3fvzrhczfR1DB6XSkv/SBKo3guVY3/lrAaiYTxviYhqkYy7AQDpUdHW8CNhFJeuHjIgmryuGZ3HN90ywOWBah7AvhlbYYbhKfVuaxOLHhoANFY916i0IHY3yZjkwWu+DAmQgv8nvTGMBWmAj6u8IlP9Ko/HRh85ZvSUW2BjR+UGb+Rohac918iZuhT+ywMvg/J/v3vdYr+6jo7lttPpBhiX0O2PRRq9hEiY+6qdJkzfP83fIrV2aRV0SKKaiXiGwM1O6OjWftWimpKQJCPnGafc2toW4RRD2YVEge8mA1mUVCpDx3kV/55RU5s+jx7t9fPoyqqkFPh57tnqTUuV2r429LMQX3PUwacn3pPHNmUWY5ecQBD20yWYQdnMeyGO70JnI+vQ4KVe+cqnRHjR8l8Rc9xvSdvt6darbku2kpZTXWq0dWpouPj7R38Z69WDaGsUXn7f+TMMcN+O2ueFUe8jpsmBGkpZiZv5CKSW5tmSSki9N+wO3HdSrCgPLkePhHUAQ/yp2kqTr8UJ9MeacgjHqDW58x6mRocPNV3UJtRyheFXjEEpXwKzS78xh+W7dqx2UkTIJeHnUMHjenlTxOKFg805xO7l+SHlPQezrdDj4cYgfj5kfmLj0S4j1s6l6x65qxZy5gAZGAqWEH94798IX5TMImDplLvmnaWeFwnr3hDXfz/nANe78Pqu6jjtcNp1EqVUCGW2c1irFfhi1tTe49m8gaesnXwU54E/4UctEp1w/6KX3F5tt4sS2j3eqhxksnabe0kxVceITDR/q7kYcFmja0L73abONa3J23zHHsB9LrAISR5kWcqMDAcJl/m2SAJXBRB+8ttYlHtVSdSzNvQZq+4mNH37V+C4FsfE6zJAVNyP1oS/9+t0dEPPrpRauWYo4IgCbiiSwhPQWikNm1Pcnw6B9fO85nNWT6sgUaeSdQDKWSZoioBw7F7xWaGh58lqr3kXukKzcLSDIT5xF5+LxMLHTgKZOOtbkz3khNeDV8M7FWQjRYV/3XZQJUfxHfgHOpZxFmVD5WCXjFE4hGJaMJ4xVqT08dQPnKojcSfmbrqPOV1qzexTVoSoQrAKSfn/MUrHzySdak/38wztg3LMQSPRYhkgwdDXde8S+D5eCZBSYrJl+BzQ/ezOVMDv8l/Hjp4UQENFo7pkUoUQmnnnTDCgHs5w49flDoaXZgY0dnP9Obw0RsHmTyzQBrnZ7TdlvyIfFuFDMPHM1WnuqQBHse4DkrFuNHMoCCm+AwYDbVjMpkc8ZWnKOEMBue6DtzQsdCQM2O9apWrBAd1HUg6Qdd8MLn0LSBjomyNxMKNTbi6580rmYOiYMc6+nd4uVfLONOleLJF4cE6Dik5Ta80aNwjmCfvs+ZXYsNDXP0HIlZTSx0R6YYSQc+C17U9E6v3kKgFlS/zKkSnJkRhyytSoIwARgcDovNByH8Wc1l7f4V4s4GEobqORA0UODez1jepCMvlsv1pOYCK+EPdEzTV6XvXFrqHPykL67o9EjRtYQtYK1LNviO/qvqHd0dR2gStwOz6hl1EIAOaJA4c4xX9t0jsLw08xZffXHONrV7p61HdkuoDd4gbp1h/YK6+xFO+KMOeYQSgOhSL/XpokHUhvkNHyG9QzTNYy7N55QaAgTk3/+S+FFhCpBKQ0cIIypx3pce1kW9pG1tAtwvnt0xnyfa9k5rF0dpgsJ1outctmujonF9/ML/P5VbiQUWLp186zofMOL/3Ee6t3+/5YBBB837sTwQ946tCW4c/Q22bVTg+evbB0B7nAuwba14R9Fqsuq4Dh3eVUFcDoqPlZrnmK7mGCedUjl9d1PNgMglPWNmIuss2kpEZ/1hwos/kmHu3o4r2nyKi+9UpHbLscLWg2pB4sMkAabBUU0W4ijgSh7XqyZwrFSIQidur5LkMUO21iiXAiKAgmzygOUnaGKURW/7Sef4fAfFPXt3W2HhGUrNL7X2itANsoEq+Qibya1N3B9PBi7po9t9QRntUn1SiLw8V2JC2EgIKowF0LksgGDmM1qE8dLaIHwul+Vk44Ykn4FeGZtMJVGcZl5thIx0GsolGHfCWiy0dWKEzR4Cssg7SONa2aJkzHY6x644jJtoL6uVfPJbUNTkJsMIQ8WLhEo1rvgoFU14G9nWSkII0gRzrqYFWFmgTDgBByaiflv6BbLqB8F+xpuYscpKx08CaQj5hnHAjX3PoBYf9XIJaVlWZFY44amvzPMLbjdeJZcmhUozPqBRhnEqykOF9LB2sWgVq8dMOV5jZlyU4UjsDaWrhFn+DVHe00oVq3VA0nRZXFsy8YZtrFIBbXFVG5AQrdibJSgp6FOjnWTRwJE4vTrrUWRRN+cajPEIrLTsU9xXh6COL0542gpJgx2ajw8snLC93N7tphyBpT68MsRD/R3duFLpaCaDc/yZzRrnth76gUK7iHLypT1IggHxstAM+6taeJsXiQpl9jrv9KY/VUX6Wu2ofnF3LDlrHOn5G4DL+UwmsdxfVsd2dkXkgIsw7Qguwl0HtUYtuzd8Va8kc07tmxniS6LO3Ai3k2AE5tvMad7ytPJK6eJPhhTGbVloe8kizsa6ZeUe6Dr+uJB4EyeGA4I9xxQpuGBRj8r22gnwlLg7WzTMXBE4aZkjlWHwFfHC9RLyhsVbhmfcUOxZGmLNultIoU9AIlhUJ+LmT2iMKx2nCTUhE/zG7jpXdcVXaUzfVAoCOeWRC18Xo/UndLEa4yph2NkDO8Dp6PQcKHbhuvpiDdSBQk7P5v8np1PtDXInzoBHCFXws1wFhJbPAEkmfwAkSTb6A2O44nMO3rn2dTEJF1LtaSkAmBwKpHultNVp9oDkxLMztsM8mZyKVsXpfaJ5P7G/dPHHEustpCag5kfzbGq31VB0FWDsdHJyuC1q7Aiq5FoSDoGwLDeZMB4drvTfhY8Eg/U5/BzaiqVgliswjgeDLYfcmur1dYCztPoKuKPKQDuYuoDUBeiLWmelFYhqoiy17N1f7ooE3zzBX4Dpy5Iba+1xr9zgt2wZblry5koagLjDZcvJtfU82gkI4JRtsdLN2qUAfFxOZ8OJd5G0JKwuOq/iHuH0CdHV1QGtsCinHbIjR4D9/2uh6w4viggaTH40KdKUWoGwYm+DKHQaV6ra/Fd28aFcWk+rA1EBZLPu2W+MlnhJC/RE0oKuvEOBISctdNoGlth/kvwCOoTW89XF+dZZIQu8sSbCp0HFjWI6VzxNiSDJJww059NkmXWO1C9CT4ybN/FDjomZOcRR5UJcYAbgNaF/R/4NfpgumbM//HtUx7t4BpalJtaYbktiPlSG2q68ihpWQD0YQ4PrRMaadDbwXgnK55eezL97s0T0C863vS2k1ZMbFibTTLVh673/mmm8KRZyDNQwwyBfQY/PwllwIK4h3QDrwNORtom3igL5M81Q2V71k7+12txXxHX0Sl/6kbXT1TfWk+x24HGA2EaojTsZ11iZF77rfMGbKEfMddOYg/YC2Dv8jy/fV+Yd2e7Zjrxhle4h8ChOHWW/RymRVqwdP2+8SPpoibMXkadpfJtIRww/dcFAlIQghDJaFPCV9tDWs2ULWT6wRESasmNpbTucznIFXyBa+KxVMMQctDpdtocawmQzYp2fFzOVGfAELMCJff3+Hq24cabcOU9CtmhhtWzbX3O1hl5WGBaiEF1IVw4cX0qRj7MPOHOyrEMqEsHbL2lHt756q4Wff51vodBldgBZaMy5qTq9wMv+uGm7DwwIkV/E03Drd177ZngJv7ZB1hFvaOY+4TTS3qRDE4jpoqZTP74pXWiUjtKsIUAQoME/FnusXanev2Ta08ANF36y6+QH2JhpS5QivA+9+XB2hyCTmXs9s41Cmj5yIdNpypIHIVNwC0QIW/AXaQLDxi4oGOfcVJYxAjuqJ7lYSZ7zYmmvddNwvQp97TRqBOGUsFJIEh4vhioJeCmVGY21PjMo6QBDA/uTxhOmbopoLW/VIrUH080F2MISTv/skH4iBzquEzzeQ097VcRcG2NYh5dKtFyxcJ/pDhaYRtpXFSbGGFDS6Axt/B+iiUYtqHq/grVQeKRr5tFj7WN5yJjRNeggknhL5QEdZJ/w08omCx340guiKRNQX67lnTyx42iCa0k/fpI598k1FVppFfPkwDB2zfeR9eakTkFkc63u0zBRhmm/0Ot24suQxQsJPew3kh2UJAHIpzg8rGNPwwWGBM0rOzgoo5yS/UBUBvoovguhmkZ20h6BsPeeoD5gn/2y5ZV4V9A/Q8FytwuRpoETC/vCSyi+SM9nwvZoZSnZBRhQdrgbHMlsyVX+Tn/OyL47xYSlPJc52rRPIPuw+OApleQCY8PRUUab5OuCKZE77Aj4ELiu4DhDmRWbnPT+iu8oCM0FCThSR57XM3pwU8G2OUQ1YYAx7BHRTRGiJdKIMJS43eZayaV+xi+KO15vct/a8TOWnWd3tPsBjVaS5qQ4KQOHvr1CZ3OO1LNW8Q19MPrBLdtF7WTzMv4cd9rW+V33SF/+FE4u3rfexmKH5oY586IN/t25Dqnow3n02U7+gw99HRtkjnrFbcDIUCJezAo/pLltnF+uf4uabhqlevPTzwvgL20DfxoSQ8HHoFhsJRYexJHgGQrBBS9aCA5OGnwKenbW4l0xc47Ez4evqg3lBGb1JjaWCr9gt4oAa0gea1yzsE17CyolFD6ulq2GhL7LCQZ67ynlo4YAuYYh0sdKG/n6SJ2vV4Gi/mSdiIuLBfp+DgT3Tx/Qm8nOmXlA5lLH2Snu1yhfHKuh4My7ePGQUTuS/n9kOKgoVpqQuTrB2m6n4rx/eEk7h0c3DEEq/nWSMYVfAgPibbTf6CBdMv3k45nEInhUhZP1hY9oNeNqMTQu/4AxJegjRIGy+231edxDqebXt+NDRwUDu/QeBEfX5So7SHrXT8JL4obgmDXVkrC4ZPUaJ4oiirJAHBoA0fORTHNkwETTievLJviAdu8D4he46XbzAG/H9ftOVw5ghSA4aJDOYHyGsdr8AnRd8siKDFv0eGIzAlLabO8RvBsdCBs7oh+GCfuyMsM9L8OoOQAv+tfrj3FR6hV3sV4RGPacpxvkVUcp4JYdAmldBiNk6aBff2zAHigMBfRed7c2s6QlceDQPDVJN5U0A1+wv+1vHMXuPIfPlNV1PwMLMqlaZ8j14D/J1WLdFuvM6fLCNQDLfeXLaKLn/L8XKQyJvrvzqotdHGZpx5gQ9OvHw9jmBjDFGRJmyNAUEjZAyZcAy5yKPZQMI8TrCKWi1zOUFsarJ73zHX3l/ouPTupckwBfLax9DoLrkLemguGeuCwu+klgtj466lv/nsQWHk2GTz5OYXluu2BMSBDjcwA20BXPTe2BYNgNINxBX0qOdbHTbIdgpfPkmQVo+HaWDQAmKSkrrQkIkIXbFzwqkw3UfJebL7SC3eLSyAOgvkQbpGLcHfnoXLps1azx1qs9FYxnOiFaFuFMe5sFjfJwA/S8z4S5z+QtaXDKqqlC31NYSSyF0HuqErtvU1Ohlc8ayH/JW6vwARB82pAJHubsNpodd6+lhbMu4+CeO7sm4UWbvFxI4nmoFrCrxK1P953LlVO6q+SipcA1j/9Ky6OHV5INVfi4A25U2lW6xWvlc0xeXV8Hz13AcR6g31Xmhndd6PqQIdnCwX6Fk5gOcrRaFU7otLrA/bssEEGctXOoHqQGxLc5/dcmFAfAe3Zo274Ku2XO+2bU9Bh1oZM7j8Newq4Txd9jKqqjXZI4GGowLf5cn4kB8eHdgJp8UV5EEC3Yz6Nm+SHHolPi5Fx0LddWOsA6bgvOroXsAPgiME6a3YldJnkJ/IamHrsIXpcFjrGYMVOLo+Z8i66YhV0vAqSioFTU8OuLs0QOKWBghJ2W3dKYXTmVWqe7xXAgw6RHx1nOc4gLF6j4KugpgYydgIdDJ8/L2hVIrpmUNiVoJgZ/1lLep0Vj2a4/SJhVP26aRJYoCfKcCzJWVcJukM2bq6Po7pPTwFBM1W2RcqnYPKWVaL0IZTEXD60OncjPKgpBEF5hvjOmPNc+72IijofhyX7ClTb7s0Uzp+yvrxu6Uj+NHNFwTR+bA62DKww0hCJYbqLcMAvaHMYlt6ceTkpnLEy0xt7iVYu3YvLs3AXKiDbUgtn8IdOl/dueIiLZRgAAIo/xhQKSSJGV6Pj0vm4jJ9c/ttoZjr5BMEFrf0YNdKMNTi+xiH6qwBuQAKVSe2LieL+CNo0oKAJkVeC8LdJWW7qSZ2EZDOpRvbPKvHJnYp6h+bjeTGdwvpxJOWJdOnv0xuBBnFGZEUoNWykaiDMPFdCh/27tbH+0SuayFZrD+juc1Z8HxPUOH4PawoVEdfOm9IPGnOA1m2hZorZg9z9uy2vpFhIQvhoHepyIeRu3LDL57mBU/18nJPYdFQ2cf66nn+Cq/YO1p6kJ2KjycNmOlv/h5gvFDNzwmERFluVEgxzq01vPzZmVstiwNgW1fezD9TI9RKRrLE8V/6W933qFoY4cNqXxmJrsb7HnaqlpPMsiqI6EFa1v151nOjM9HLKRc7APWQ/Ft1ZD2mCFpLWytMeBEZzms462OL9kQNWIcLHzOyyZxttm0UYdvafyzBab/2+1Cb5GzkTl802GdFP71G/18N9hIKEZz3TeXGvQbzb1C+abDfh8czIpRYb9K3OBlZgth+gIOQkpVzEOS+ZmxGGDiVOJMdgQcf8pvi/XJTCICb/OG2ejlovYc2P9IVsDvjjb1tWu0Wiyyn3pBi14z0CzLVS1cSogAap5T9FTH1acRNWqfjUaKOvKnnNaNjjLvQoie5xUw6nxfl1FxLJwDhsn05qULWp2ACWhgTKaSaX1y8VwXNpXngBVZn7md9QODZk4pUPd9FoCXr6w5+tZ1qSR+Hh0nP2FP/JNZL5pqkdMgpABwLT9E9Q5n1CP1VqwPILgvFw0bbt4KpU3J4raGuJTU8MK+nyE+mkdqYk0ico2s0crKZZp26/OIgvln6z3tnYwhj9Bv/vPfXOKpbVtV9SjvH9bvyHjd5+TiwbgsyWwD01cMkNG814ORY+urfmE2CTickby4jVimNO0Ox0AA1YJqxsFaaBVFrXttoPqrKBUy5wkrfUTHmctlIGsO1Oiz8gKVVp6jEXdXe3uS2QE4hLxTAT1n9mKYAfB25IzWqcI0lpuZB91glISJx+rXFQvCYWLMuOH8Yb1eV8ijGifGkUKcsScK2G0lcGJibuw4W+PHFr+/2CpqHBZi2VIGNDjr940AA0vfBn0OLTCFNiv8BOhibUbOiCLCKbpyAxavpPpXe3ClLuw/OEh41BKeKdK4suStNJvT9cWCt4FICeE0xjwNixjDyokWOpw2caMPU6Dwkoqq2Ua71/LVmNe9EwNFzsHsrIfAkFNvJ95IvzzxIRNx6ldzYV6R7wwIH5zfdlwDpq+lnaek+LfqAR57kGaGg7P2U94DlvS5fg0fMfiRRZBbhTekdv6kygnTaBuqJ62H4rWu21ulVGWDztE8ADK6kmE07HluJzcE8SYV+YTKH+8Ol4E7qpS2cPUWAZ978L0hWm2/GA2qsGeYY1IgUMmZmDtcgYXOtjYBnRX74u+1/Og60GoEIeymshyzUr82dMJgF+puEckHZET+r3edRihT9SlDbdCnh508AzOdTciY9/tUXP/fyQVsBxCmI+6JhxeoEcy3zFoTy34OaKoLwzG5Bi7YKFOBGiXaEJ/nCRr+QltEQtL+Me8Jn/+0Iz6lzDWN1g7rbMRZ5VLOymBzya2s7CPIW9rMOuNmBHi/h3P6GrGLSEO0Uf+tvJC7Lu6HApMnUgOaPDnNpoDgPcKFtuweSTOFx6kvyRN1VAz8SnYQkIjB4BP9he8qzh4P8Of1DhRPyY9/hqS7uJZsmK8fGlqeaRnLyUHJK9xNhXXWWjWBkCz5oxra0gaGXXDct4fqXGaltsrO8faatoLQ9VchS4pDXevm11iViodS3Y9I7qpyXF607NmRHcAMTCiG5HvBfVTfSa2sX5uPqc12VvG+6LSPLdq3A+2hFnJz3dQtpu1MS3vn+IPCi4zZ3RWpx3Erodx/2+NE0wFZnNGC/qfLFSnA8RhxnOq4fGLrPufjqnRN1Oofwbqyw35xjnb6NZVJyX+JgrkvDifB3cj6XYIwwhww2eu6R1nKCHtBy6cAuVuC5bt/wq8xHUB7FLNf/R4jGhU0d0XVI7NpWxhoERpG39hi02+qBFKsXuOMPmrJa4zrEbAWUMw1y37w00XeDuHeAe5Ab+futxFVIyKh7NeFGQBDvlsO7kGG0dXPxK2hduHtOpv5Ne+nMvezMoNGNwQmyamz8he4Q/9YnHaLZ+Uhva5RaCYOtDNa/kT6fwKQ9tDt3c77PuYplP6B1ale+fz1L5/qnfNsxxvPIuMWxomw2tNO80vI0x8znx7gwfK+XG8cUfu7usr/buP1ifE8XDNxtbc9cZS7296JK5cQA+qBsucV4pvQQLHlpBh54twg0EEog1Oc5srFtkkT6MCjOQpa3WiPNJ04NWhYtrKjUn94gvI6bMPuX264ybnQk/fF8xXXhUhp+b/nScb2HVNjT6VsUrNkZIZuw+IFSpr8XEuSGA0vHYmAEMC2tEJBfCI414LYBF64ZacWOQy4wpmyYMW1aDD4MBSStbSQt1fwEZv33MoufqSsQMKG7wB3HvpI5UvoiJmgvgGcdlPA3upw1cixeJi60Vlc/DMuJSiW8bFUqJKNKtUZ/zX4wuP09+62774C/nc3jvgQv5Gz5IZU8dypvuKFxGILhH5unLo6EcYo99gQip7KjFk8szwj6Dc9c9vR192A1d30+4SKqSS3MUNZEK3t1E1eLUKcoEnXM3CQa3S6wj3hncDhApN3RCeaQMdUC5kwqjXj544Mc1BCY/jxIsgxHV5USVWhTJAA5pB5x3CRomE+cV/gRk3nW7Z0NVcR6Az0b1BYlCpkbo/cieFikQLrEU+0j1NYKnC0L6zQ4h8fTsfuk4OkyaoYyGlIcCyGNV4TuHq7z6ltKkmj1+ERLWNCFGO2ZwrJaaXjwZ+Q+F4tbuOiUjP90hKZnIiDhXh8k6PJ1mvij2bJNIFFTmFzqpeQ6sjjIdNFbgPWi42ZWbTDkdMMQQVxIPyfzSJJU4tUnwQY9ET6Dv2dLTikLHQlZxiQwG0XYbOcrdrdit4+f53p3O0N4dFPp9voxV0YlyQQmv8BnvA7and2SvlyvFnV8Z3RPGN4FVjZeQuIhkG/3Td2aDKI8vfvYAyRo/M2PQKHE26eBJvA35KWt5VbG73wSyTXLLr0yioztwb/2zkGvuvEuIiLF44o8+YEfApUciQFcN6l9L9yv/EjgoReLKw/3brMmfCKgLYmmpQ//buLK4uVTKNGplkC8P6UbLENjldz25j5G39Y52ntKZCXKcp0rofB2Bgz8migeOWaDWK0pYE7AfJOuIWjZ8NWKmsN6Qy9ijPtvCSb/vufd1LTtbaFQbEbkeR0FO8lMy2GD9NRmfcQ4Su34BFps8VgRvaHb+0JI/yJAgfgYhECOKb7AZ9xYmutMunXy8ex/UVL0pyT3XpnKIog7TX3EadLE7HkE8YUuVNutWxPOB4vFU2Oc3w/hT0BOpfQbQuYjUyx0i3l38Kgpjl/juGEpuZPO/LZ/tdBcmMHToZgDdjju4LnSaEKOYtMGx/VubKQiy3jd6ubD12ljO6nimW8BLoGCMCjbZ4pAWRo2kntmxyDGbRUdU86Id2IT3ZhVZWroFVPAJrma2Yft2diNhMvtaPwAmmB5B6bH5xjcdreHjTo+FGmfy++j+q5vuJ92oldaQCUvjagQrJIV/ldAYfB1KGMWvBS90ElBONIke7po4lu7ITe+vYSeTEDbEebfJfqizGM2Jji+/ZVrgXb4/DcChfEXB1zNuGgE+MRJGs6z8j8wO2y0MpSJwUfxE1XQo2zMEDz4DS+7QnfQKIm5rIlOtx7dhShsmrMRSnaddbuzxfqynOY6dgrrfF1bi5ydzNKLSQgpj8XmWgccZ7yxWbVkRG6LLhnhNxSpWmwpX2pZcpxM0AMla4pY71Z5JoZMQ1Om1nqANsksBZ5kDzhwUXMi19EjnsNgxu4RCdZPvX2xDvV9yotT02TTcyybsAYnczCgZdWph+km/+vD/gHrviTUG0FqF97VQl+1r0botxubZUOcE6021AdJ6ZmjQuKKacr/fj3oSM1ixi7PrHZ3d0OGi6Wvnt+aPSxQczFbGb4a7MTI47ARw/3ZtEo9aVDhdftxkzdvOynuIHPUDYlAtG7/8Yz0Rh5RLwjPP9n/uAqeUdD46aEX3xuPnq9rus8MGYaQ5+XVQn+9WON3ubXgy2peZiXxEhkUQbVbel3lNTr4FqtPg9wIlNQYi9SfdUuc79PZHgDWP4P0lvQ79ZVXmHo2XNUE57qy6COWbakvN+YR1ayRk5dGf4oqXQciBZ5cGmEPa/o53OYZgXbB1kFRPL+1KNaPY2kXgXETZ0XaoVjdZ1cKuogVAE7LtFSvJZOLV6OmXN0B2QTd6urLfMiFQUJgm4n8ueIbrf00YG46BNjjw7181GY3VcEL7o3XvDqozAvqmsPOqW53P424iFtOBMqLtktab+GlIPvk4/4ION4IKcS/CCP/qjeFd2T7RX4gWBT5Aj92rWVkwEMmn78czY1CUcqlNS0OO7MiKom5k/x50rgYJxuaijMyvnUxR3xdU8xUmR7d8yLLkDtv099lBcQYBhEZk9Xa1a8/Nd3sUtJUgmGSnOE6c+JkDHfWWofrVLf0wT2xf+v9067UZtroO2USWzuSckf3TvoV//LUXyY5vBFO+U7I+5+8jmfHrWikQ4e0IgYrJi1EtBbP+6C3VQVWvU4GfYGUto0w++DgK6M2+bsg7L5wLg/nIugbmEJnOhETuVkZfuQtiLNsF8BI0byi61oq6LNnfGIi8tEwqdSqIEcxVUQwYq0ehDFJ6L+zP7gWl4vzug8LKhUYC8W9VHxAqM76impOMLxEQD5cxJ9x+14R5ATaUVOsuUSJhfwRjP0QGTeJHkRakgBFjtlKyyy1FE25zElKofq1hcU+SImyW38DD5lfJ3NRbpbyp0Doj9FBDz5x2O0wgMjlV9uCjl5w2FCnfoi4VL9Gnt/IPym+LUEjyvQm8NRDFMp6tXB7PNcxjPtAgYnR3wKS2/Jhnru4qL6lQCFnHbLTYM3cPTi4Le3K0AysqlypERLom6ThZw3OhWB9R87kbzrvo58dg8RWqQ7NBHqjEU+AQd7s/O0yBK2YB5LaZFf4nFazpfZV96VMnvnPqIHscMd+1PeVWgmNKhncR+J51wVWPorGygofk5NrThig0ZCqVGYd8wP05wHmrNw0bNNGCVPbqSpzv41Fifwx+wPcqfIZYFBPQAaqHpAeh7x3m/id7x5CkTinXSh3xlJclbfkHU5ZsYVu/eCVkWvxtxP0LCUCR6qvr/2OmsBKMDd0HYga/cn+KKW9tGr4bgElU3f7F2prJPTWji3Cz524x+5ctgAkoFW1eyx4pIhHsWHT+H4i/GF+W9ZZxntffO1lcnV3vIGO1EAtxnN8b4c84/7FwiGWOZpvdOrs7YmWYlbBb6UUtVFo53igzqH2+ptgSHKN+T1YPzVkURMhvROxn83ZruYchdcgZEieu5hzlyajbC6G5eInf+Mnx6znhhy8Lo/gM+PlzQHD50cENbwzAz2H1xLwqjIVSuV3rspre3EW4+c4aOrD+caqMXYRNGPGq6EUJr8rB7Z7PkfQseOe6dJS3NceK9ejIYNYy+1WM+YSd9NQIzRcy4PPF0YPxYMAmfQZ+dYk1hzgq9U/mTTGztcom3tVD/+r1ilEF9QuxS4Yjqube1SkRYb9TRRpd87AgRVofGs+2YGhPzggbD5ZvqWOm7eyJ1JuSF83u0+oNgW+IM8XehN2GkcN+DiiL6NKtKKe79VYjfEKAhCzZFsAiV8l8QqJe131sZdEyLPMUL0NLwNarBQlUt3mEuwV5hk+0W5CUeag17oEtSmWEfRhj9ptiXjgKBz00jxjasKuMwrrUnGoXX1TYMz0PgWbX9a96srtF87kwOjbzTVTXPRy1s1MJq0p3iHr0RMVjEWoj07FxRiX8kCV443Lp6P9WEc7jHYxWkhnRpiyS0KVF12jne8Az8SwZDUEq1/m7nsf9l53vwRXWLr4si+9to+ppIBbNwJHZmSnyykcyNg6TGS8fhhTxMoFHYaR9ZlSK1+hV3YEITc219B+etLBVTVmuttTQkxBCy+Uj0/iRCvV2WlV1V53RltCa5jhZPN5lwFb4KcPCgsywR4KdLGyfNO0xvubwuQxHclUO1DOrsUtGX9RzOIGmLgbvy30mXw4HPy8HTh1+2BJNzWKWxi3pxJjygVVpNwIX07VDG301lSQY9nC2PJ/cj9LbRLF/xnX7zr2F4gi/nGYOe2plCbbubRBwl7lU+8FWAx24OoBiSX4/fW8a6PkNZr76+1Gqr0bnzoA1yjdN0ASZphxD3CauWJRpfKMTxaecnxkG93pkphdhaUOxQrOnO4qgXJVVl95IZ1PFLVBKTrKpEVKrMJ6pc1nWp3qQOt6czJMFQTGxo8wGd+lyjkWdFuPQrrOxMsz5V/lwDkBlSov2PQ3yCC7JUqYKpNx9tq+R3YHBUzj3EqqoE3uNpwh0BDgBS6zpXVZRnLTI3l8OV9wBLmFV6uFmmqn7c8kseg4YholFl24AtbrKtYd+h/lfICSXH9x5b07TpuXthMoXxm6QW6pZ9bfGOMjOaiGRdJWcLY5OToDkBe3IvJQ00U3WMmsn3JlvbyfrlEk4XkMO5aI2czN7+lOIXZu27A3J9RgFTEvG6frDDtwAOBEjhc11Y4FLqKuu3KMzoPyZuupV+RIF8zMCqb1tr5YQjgK16THn00DyXzlOE23oSjNrZuVkmblAklLWkiHA7RAtJYUs+8YzUawhd4jsYyYL6nhCG/4vp9PQi2dOCM2E/P/ZL0w+TDtitZmQDzyOIl4qnoL9zhGHr+lWjno5uqI4SREa34FSL66xAMC2NmeyS9bGi66NECqNWr2O2xjoUzHRCliGj4Cv5sMaq/w6drTjsfgBDi1Sn+GQM8Mxw2lJlBbEvTjk3KPUftgHolo7Z9fiYqqjK1sYXMHZOZpvpKTEznch6fB5vaQNFfX9KqnyAa2mDnkfB8iCNq7fx8nNjXPbg0Whou9nZ+4W0cCN4kMrWjVOqZzQmMgfN/bjOMu5mHcuk/BytS5ZYD9znjvwb9lULJYfah7xWpbY/pDxksRaEtaVmJGvkb/CMP/uBEy0+5RJqNa/dGGMlRODmcbodJjOVAcfyOisB1sBO7MS9vFlRhpne6s0n1TNeTPygJeMkkNZxt55t+igBeBtDZ6Fd/oiiKbPEqB1LqMWKBgkA+vTA47HT5/Ye0FYarqZiG5xB8dK3ZM84FHlJpAjn7Z8yAnnPD2r6Dre1UJF8VP1RJbR1tZ3atsHSVQq+vyiFKosDcOfydllWaK1upog3cO9PGEWuNtEX2S7hgpek9GVPNGtDuakF2prZjvl6m6mFBCARNQAasIijPWlBmXOuGHBEanpK24Ob3M4q7f9b8jL+chn+3dGbj/s8mCiCPmDECBCNcMqw3SmOnTyq9YDaHdPhqGGIK/s1ZADT6qR6TkNzdlVdagmOTnaZh+w9t4bmca8ZnODzF/SQEFr29HC5cpR1ZqdR1f//0EqKDLY5QVS5iSwjlur434YllEXdPX8KW1Ema3GD+tYqIJv9h63fYOBbXbA5N3TLoPxpEjK4sLzLDrldY8KD7FkPowaPVdvpCRy2N4RgBE8+4BD34y1cRYCls+Xz9yDYJ9BvXH6OZWAfNJIKyRZJhqsomGDIQtr6APIsqlOMavze2vTcy6/UIkQjrqzQZA57GxZ++JmZ/v9V5zawHuRp5Rwd+H3JkBsY46WvfA3vLEe16Q5Cerfsb9DlESKui7YD48krwlBSoCJRb9R3qh2QnobXrz+KEPeVsm03/f49erff/kDrMuT2N6hsbW+8wsC+gix6bpfOFj8x2fxlj+ONOFsXHCRNV4ZIAM7wA9qyDkOiaMPQAus6bfChaX2ugNuUzI+kny7ANMbXKHCRkZ/s13U5ouC31O0aYkcrREOPT5f00P7SmU7z6LLnodNHQK8CjGibYDr5vTiLq//tzP4ks59oQZzwHRWJ4qg2wS00c/IDU2ind/P4mhUQJM1hjdpIPfXRFI/F6xRUayDruxAK0IhKlHCyqJ50CBuCqf3ET04tqJm3qZ3IfB20tSb4igubPZZMoQEt/jqP3fn226bC8ccDv24DUrjuMRvPXwniyavGp2Axxw/gdTQOLOs2ljAFn8bf41wJNnqm/vXoKdPUmxNIR8EYHZgPovQbCOfLK9G0IuxMkGcHPLKVh7dS1uTbh5dNMYbR5DOngptjiItqbjFArXDDQ6y2/uSTfeS61+WSGpTVNXqXeok2GCZil6wG9vm3qAyv87hRhMCpVc65g4jG9sWviiDshmOj6lzW4KUng9yJD+WYcIr0OvTJhavZs9oBkYoX3tbZ0rKBT1YdBdRIZTTTdOTGjFUTz0eln/buSsFpQE3OjUeKxjwgjpgQrUJwCaKhsU+6LHZpoyFnW0wRtarcn6sfO7ls7uBXL3pQLsOJtnIKcNvEDscKmZ/gaM+NjzCMyhKNWzSxMVj1kCNvAhruMcY/y2iPMfySeIFibZAHr/i9Vvl0lVDPSy88D/fRZld4JrJe7qPLamSmN/NvjV8jVdZngxCgrELBniTNKf0Kfkll/i7vKrRx6lt+TkhGCbWV5Pe33fdJy0dVITI1f+VtZ772txsXdkoaDuC6znkKw7kQO8m/u1erb1fWb/pG3V6ghNtEJhGh7DItnTRF4KFlN/Y6+JJDNagXsij0Qih8a09BFi5mXzYra1UdTyC22Uo79+cbOqoQpo//vSyYd4HYz8PVC4bJjQUS8Dy+wmOh/BaXJ/KXRjBXDZcF68yWZEG1kuCcGVEd/nLSDMwOKeR8oabw0u9obxirnfNo5fpKRE/PiC76mQXXUDEqWsQu768Cwhq9cF38nQ179sxczRiSiOl740U8zZjRz1UJ8nBBTQX8iI+nYyri856Qb7BVFLYn/Oi9CHXjmiKrHlJlGsSg7WKTRfd9CysejG7AVCqZI22I07AaTNreO/lYmo51zoPUsSqm4ywoZjWGYkH62P0Ex9np14yO93eVHUeXzI+kRGGvXs/o1/p+pRRRaqPrksOt9V9UofLYz9BLZpFFzHKKrWj9EkWWTfYq5WG4y8wH+s+vvSMpQy8/nkI878Ge8qF3bbjBr/uXdZZFNFE08rlJmfwy/mdmNe115staB+TXZasj0XADOJxjzEEnPCqYGFJ5GoaL8hJgyxe/CysTMBxb7Dx631ESyLS9Aa/MJMxJfTqeCurpMkUBWI1bmcfKR+KzDR53xzv5+kkd5tu9KlCkqf3hLlU/UUooyQBuY2whuTZO/ZT4Se04qWvCJKLoF7e20FLYnqaC5Wu6Wwe387N1EtRWSupEsvB8rzprK46Xq3enNmuo3aP5bdQIvuuO3O6hBBLb+AMHAJOwLUACg8RT9HpMF1HreIj0Rfb4/jbT4z3BGYWRBXHNdBFXhiuMSJcjBSn579+b0er3J7R1KPuQoS1KOTHvraSWexQQHpNshVgwusluzAZGNkRDdm6heGt/TwdmWSztDhIHlQdgVFaXw67UIXFAcmZ+kXNhtJQ8RfgB+eipE3QTOKEYyDrqOVMq61l6QtIHkjRU+OCpzKCt84oW4YgKb8LY6fD2lAjH3ke3ZlyWaNKOEhHi4fkZeN9JSX6nRnnMtWJkYsKtvp+xlbt0lo0OwNHBiyNwaXwGZjvwZEctNrzHh1Rs5smDQsuDs6HSJ6ZnuGSNNvoakmBBO9bwi97e+rBzQXsBRzI8FQkOj325s6XSj5o2MgYHgokKviALxo3EYAZFvSleyd1f+pPK/yZ6/gpGcH7Uz369t6O3vv69dHVh7I5UK7XeA52VfZLNfvmXc/+qzZP39A4d7+ej0+v/H28vSiPUODFdHFrxGodTxClomDbjYWFUCvSFI11EPdJbNOFihkr5+LFQqrGsDk1p/b+C7+e+Sx50rjCWRCzek6TcZ+HcVii4Q+XiXvxNXPRoa1WodX4YyMkPpwo6NN1pCZZ6EnslGwxMdvrnudIy6Tj03kSSH2p3B3SdDrkqD1ljyarydI3p3Q2kD2yreOVQEPsXzTjeuQhDeVHu+s9iewNjlc6W1WvwCqiEmS7+/X5/bfj44Ydc9kKkMa8NmNcqvTnCVukt2JFpsWN1SjOXzpyxv/DPHcH3PgLeiZdbyo+65AadHKCYVAt/J0SICd3LYkYnmy21BUBSNmG+V600X2fBTFFjH+qeLC8w/VaP7UVij9F189LUCAlaGkNDYcXsUkB4RuRC1rASF0wjKIjWZZV63eVhTqjX3RwIKZLw4uVN8wu1lOIQD6WV+kbj1WPpYPcOy8nOUj70B5zZqkf/6fD0ZiSGR4dC5+DpMa70cl1Rtzu6REiHKlzpyAF9YnosM05bKCP5DjEc8zeYXI57qpiU5oW1xYkKJUn+4O13f4oa101dQpjERfrGgrC1MAOvp28WjvaI9d37DZPYbrIKN3Ei+tIQZ6geQn/vShfHUYObDj9V1ErSjyHUwRPc3mTmg5PTaJBguXFX+WoPbkJv1gTW3ZjEYeAram+YCl558p+w8+PnUNseSNzUISO8eA106b3DXmWQY5tzpILRGfug50Qmc1b2ZyQ9HGP11BlcHzh6JCg0TjvaIzh9kVl1tbPS84dTuV9ztLxaUTe4V54RheBLpxOlWrkZPl1whVgreDYT24QfpvUObi/k9kme/NfODhIm/pqDU2gejw3i918U4qPpgYd9IN9VNfQjsG8FFqRzpWWQM4dBuOHhn5iSbjsx72tquBiTdMkptkJsCn9yTXmwD6qYujoqNbz4ZJFlvkiyUd7N2Jop5tf5JgLxz7nybyFRp9DLq+9gktlmpqvGPUQ950avU+z/PKSLg79wwdVZ4s0zWFyuLlIUSJGdyq2VgmvtNFwlv2Q6R6E5NKIXZw0Y4ZshKsAJr4wdG3tX+6e6Y3QWO5ivBTOYEh86t7ooRAZ63/6hhyyVBYZSPKnss0Rz7pBnw71Z5u4MaQzjHKH+4YWKSZ5n8mDlgVdlBqc8Vy1pxvay+QdhER9ljwv+gByfaHokQJTqLlhyKnkNWW8X+/yHFGg95PVGi9sqMOgz4Nj0cX2WEbsnsrO89Ik+sLdHRd/mrecLlAgdHU4ZAHuvg4wMGEbulMOmRuRTXr1FjKtw9eZF0cXoz/68uTBhwv/P16c8smJU+TH1/c/4tVTMWJchjrLKtKX5IP8xfC+yzit7vxZrmGK4Cmed0iYayhlaxgeJ8g8L5lu5RUdcsQMMC3E8ZPAGiSBVNyGhtwyX4qJJtGL6VW9dGTrzVvhoJ/5Ff1SFP+wrM6oDpAmaqanP7FiHNvCnKvfW/pzHr1sBfCGXVEADXz3leEGYHAGxAs+MNcZ6eYQ0eXUugxoPmVnne8OtVbqtCVy8GspDzZPi+Zt+/HdFatAGjbfvVQPtfXKuHaGqsGNQ+tDk6VFyuuUD4eURoYq5XUA7nhRFLZPmwHO14raGGBqPIoYPXkVMWpYUr1E+SuI84HCe3xTYgOZmq7mVGIdALK7uFjDZxuC2U0dh51qPddNeHfrlFO2/aWCNsicbdSqaphxMbrVKNwZp8jRo9hy8F9zIyHYuVdfvBiE3KnalBR1KOg8iYHUyyZ/V5bsV0KAa57UiOL0I0vIfp4xm6xVEdpXXtY0AhoNvrdP3fPSun+/urqFUyx8QlDKFfQmJd9a8JXDZMxOSKFyWstpeDG7zxF5MebrTLmzP0fu5vvNwcSmwG6KGOuSiZw1NsovdvKeXQuxiVkpc4rJnMl50s3PBLLuWdfq57RxYyPf5C9Z8WmU/vh7FwMj9PFILvo/zAMbbwE9fS+T6P3Y6fWlo3VnoMREWFdDWNHahkDEWIrwrAWRRxDt6Jbiw6AbsL1YosvmzKjuy5yp3/TJkGNSkvCY++FENwH5Vxkw8rtMC8aKaRzFyGfIoWOzc/6/0IclmcJsRJecah8ZjwGTT/yhxNsZ66C+bDWYmiel8jF+IYBWPQxAAXfG+QT04D2nRCBkbHDgbLmGSz4Xg/je6gl61xKypVzypvjt0WazzItLwsdI+bvYp0xamL0abbR0s80ShG25HAcjdLpIQRIY1jpr0F8+jnoUtpCZmJMRZZd07y/2TGjAhp9DyBQ3HO5y6T06SPsiGyanGjGrSripqPLvaegTzmvexgJgxjMlMwa2a/4ud/F28eCpiG5vnOk7AsRufNzVPqa9TGbeUSAOgEBAk8FJPvOa+fUSdy9dHNd1QhK6G2TEIjE+wOpjV0jCwxNcG7eVYS7XhiMddFp4VJrnHDuVHmg70Lkz7fbe1dGe3JeqFsQLZuPNOYpv195RQuowfYxyyJGuVNw96U4IdwPDdgJHxtRu6+5B3WwFDw1uGSTgANYdDqWy1f7BJ2ZfhmMdz1m68sFJuTEiIVYca3XXiuFEb3TUH1wn07cjQT97jXmv9yzrgENrfY5V15RrwY9sBjJkXIoiKJFHDHos+oVyP5lslfAgeyKtOA4tz+bCPrCHMadu7h5phHA4yq5PlYfCQ7tsO6fm/sku4m3wcsReU16GiQ8d5lmxLq4rmy4tgvuy65kvUn+PhfXbyzoU5zA5roHAub22LwvL/8m8X2b4oSO0KSaMvbMA+IRQ3Q/ZxaX90NA5/EWTO35DGxwhp5tn5qiZNcXeC6tzk3HpzvDn+qxOB+yAtApP1UBQ7aa9r1a+QCtLi+egdrGDHUUaleqmrSRH/NAW7sOnQSBFevxorl59bKMz2zoy/Xrww/RRADbXm86e+2l4Z0BlQHlQYIXVcWsa1nmDhGWjne0Qn0rrVVjoUD4IYNXEBehy0LoEF0KQr/7go1oBJ/AVOMiEcJx+BtJSTu40DfJYy2EwNmFdMdiGhHReaGfgPcfIADvecveC8kQ29F9W8QB21KwbHrkD3r9zZHM0J0xhkzXBfZ4bJhxXBm3PUSwr8H1PZccy9CyUEoUtprfn1v2xfMhxewo3KjnBJM1WXm5pMPeH93bh4oGR7KgFrOSl3yHI3J85kr4vgRcv6pBQuCJoD/lbTuVPykxby7F6hnaGj8QxQmCRodkh2sZEIQOyu7fkIOwmCBBRFDZYGjKYLvwv0lg/RKv5VsW0n5AoZnbQaHn9FAi4n0fe81P1emgsovXYwE4g/k68QOYzWClHZOJHLlUiT0tCSekebXgEZagrkj7RgCKwL5TcZpfiNN1oMq+JJhn0NKyVJ/e/rutWUbYamo=" title="Mekko Graphics Chart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31414" y="1227509"/>
            <a:ext cx="11530386" cy="5015143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6DBD5D-2534-AF71-C3E8-28E312B7FB13}"/>
              </a:ext>
            </a:extLst>
          </p:cNvPr>
          <p:cNvSpPr/>
          <p:nvPr/>
        </p:nvSpPr>
        <p:spPr bwMode="gray">
          <a:xfrm>
            <a:off x="1912098" y="1649100"/>
            <a:ext cx="2155598" cy="4593551"/>
          </a:xfrm>
          <a:prstGeom prst="rect">
            <a:avLst/>
          </a:prstGeom>
          <a:noFill/>
          <a:ln w="19050" cap="flat" cmpd="sng" algn="ctr">
            <a:solidFill>
              <a:srgbClr val="CC0000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45" name="btfpRunningAgenda2Level930410">
            <a:extLst>
              <a:ext uri="{FF2B5EF4-FFF2-40B4-BE49-F238E27FC236}">
                <a16:creationId xmlns:a16="http://schemas.microsoft.com/office/drawing/2014/main" id="{70A6D722-758D-5C67-C910-780208D1827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2789446" cy="257443"/>
            <a:chOff x="0" y="876300"/>
            <a:chExt cx="2789446" cy="257443"/>
          </a:xfrm>
        </p:grpSpPr>
        <p:sp>
          <p:nvSpPr>
            <p:cNvPr id="42" name="btfpRunningAgenda2LevelBarLeft930410">
              <a:extLst>
                <a:ext uri="{FF2B5EF4-FFF2-40B4-BE49-F238E27FC236}">
                  <a16:creationId xmlns:a16="http://schemas.microsoft.com/office/drawing/2014/main" id="{D70AD344-3DE5-0B59-3465-71A34106B7A9}"/>
                </a:ext>
              </a:extLst>
            </p:cNvPr>
            <p:cNvSpPr/>
            <p:nvPr/>
          </p:nvSpPr>
          <p:spPr bwMode="gray">
            <a:xfrm>
              <a:off x="0" y="876300"/>
              <a:ext cx="2789446" cy="257443"/>
            </a:xfrm>
            <a:custGeom>
              <a:avLst/>
              <a:gdLst/>
              <a:ahLst/>
              <a:cxnLst/>
              <a:rect l="0" t="0" r="0" b="0"/>
              <a:pathLst>
                <a:path w="2789446" h="257443">
                  <a:moveTo>
                    <a:pt x="0" y="0"/>
                  </a:moveTo>
                  <a:lnTo>
                    <a:pt x="2789445" y="0"/>
                  </a:lnTo>
                  <a:lnTo>
                    <a:pt x="2734724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" name="btfpRunningAgenda2LevelTextLeft930410">
              <a:extLst>
                <a:ext uri="{FF2B5EF4-FFF2-40B4-BE49-F238E27FC236}">
                  <a16:creationId xmlns:a16="http://schemas.microsoft.com/office/drawing/2014/main" id="{31BE54F1-2215-A59E-CDFC-FCDADD0A26BA}"/>
                </a:ext>
              </a:extLst>
            </p:cNvPr>
            <p:cNvSpPr txBox="1"/>
            <p:nvPr/>
          </p:nvSpPr>
          <p:spPr bwMode="gray">
            <a:xfrm>
              <a:off x="0" y="876300"/>
              <a:ext cx="273472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marketing-mix</a:t>
              </a:r>
            </a:p>
          </p:txBody>
        </p:sp>
      </p:grpSp>
      <p:grpSp>
        <p:nvGrpSpPr>
          <p:cNvPr id="13" name="btfpStatusSticker154879">
            <a:extLst>
              <a:ext uri="{FF2B5EF4-FFF2-40B4-BE49-F238E27FC236}">
                <a16:creationId xmlns:a16="http://schemas.microsoft.com/office/drawing/2014/main" id="{703C7019-686E-7DBE-B731-6C3944A9EA22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555320" y="955344"/>
            <a:ext cx="2420344" cy="235611"/>
            <a:chOff x="-2939076" y="876300"/>
            <a:chExt cx="2420344" cy="235611"/>
          </a:xfrm>
        </p:grpSpPr>
        <p:sp>
          <p:nvSpPr>
            <p:cNvPr id="9" name="btfpStatusStickerText154879">
              <a:extLst>
                <a:ext uri="{FF2B5EF4-FFF2-40B4-BE49-F238E27FC236}">
                  <a16:creationId xmlns:a16="http://schemas.microsoft.com/office/drawing/2014/main" id="{12AE336D-8A40-5A1E-C1A5-0572595EBF72}"/>
                </a:ext>
              </a:extLst>
            </p:cNvPr>
            <p:cNvSpPr txBox="1"/>
            <p:nvPr/>
          </p:nvSpPr>
          <p:spPr bwMode="gray">
            <a:xfrm>
              <a:off x="-2939076" y="876300"/>
              <a:ext cx="24203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Sparkling water</a:t>
              </a:r>
            </a:p>
          </p:txBody>
        </p:sp>
        <p:cxnSp>
          <p:nvCxnSpPr>
            <p:cNvPr id="12" name="btfpStatusStickerLine154879">
              <a:extLst>
                <a:ext uri="{FF2B5EF4-FFF2-40B4-BE49-F238E27FC236}">
                  <a16:creationId xmlns:a16="http://schemas.microsoft.com/office/drawing/2014/main" id="{8635C3C8-AC3A-C8CB-1ABB-AF4BF9E1F0D6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9390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6975EC57-7EA0-BD7F-65F8-E83F3D00037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5" y="944428"/>
            <a:ext cx="258172" cy="25744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738AE9E-15F3-8EBA-7D75-745D8D825F13}"/>
              </a:ext>
            </a:extLst>
          </p:cNvPr>
          <p:cNvSpPr/>
          <p:nvPr/>
        </p:nvSpPr>
        <p:spPr bwMode="gray">
          <a:xfrm>
            <a:off x="2137965" y="4505698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C00000"/>
                </a:solidFill>
              </a:rPr>
              <a:t>Target 1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4D4A89-2402-DEF7-F7AF-7F0A5C875664}"/>
              </a:ext>
            </a:extLst>
          </p:cNvPr>
          <p:cNvSpPr/>
          <p:nvPr/>
        </p:nvSpPr>
        <p:spPr bwMode="gray">
          <a:xfrm>
            <a:off x="3146487" y="4505697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C00000"/>
                </a:solidFill>
              </a:rPr>
              <a:t>Target 2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297AB4-9067-EE67-4889-79213B86648F}"/>
              </a:ext>
            </a:extLst>
          </p:cNvPr>
          <p:cNvSpPr/>
          <p:nvPr/>
        </p:nvSpPr>
        <p:spPr bwMode="gray">
          <a:xfrm>
            <a:off x="4364451" y="4512518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1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03BD610-4716-EB5A-E093-00A9E47090E1}"/>
              </a:ext>
            </a:extLst>
          </p:cNvPr>
          <p:cNvSpPr/>
          <p:nvPr/>
        </p:nvSpPr>
        <p:spPr bwMode="gray">
          <a:xfrm>
            <a:off x="5561763" y="4494311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2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FB3053A-3C4F-F19E-89A8-0DC6043CF74E}"/>
              </a:ext>
            </a:extLst>
          </p:cNvPr>
          <p:cNvSpPr/>
          <p:nvPr/>
        </p:nvSpPr>
        <p:spPr bwMode="gray">
          <a:xfrm>
            <a:off x="6703523" y="4498146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3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D24C218-C020-642E-A368-4EB921B07791}"/>
              </a:ext>
            </a:extLst>
          </p:cNvPr>
          <p:cNvSpPr/>
          <p:nvPr/>
        </p:nvSpPr>
        <p:spPr bwMode="gray">
          <a:xfrm>
            <a:off x="7900835" y="4498146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4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C0D3218-B28F-73F8-B0D1-DDC984D63500}"/>
              </a:ext>
            </a:extLst>
          </p:cNvPr>
          <p:cNvSpPr/>
          <p:nvPr/>
        </p:nvSpPr>
        <p:spPr bwMode="gray">
          <a:xfrm>
            <a:off x="9026041" y="4496905"/>
            <a:ext cx="707718" cy="20030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5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4178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Warsaw SSC"/>
  <p:tag name="MEKKOFORMATS" val="&lt;MekkoFormats&gt;&lt;NumberFormat DecimalSeparator=&quot;,&quot; ThousandSeparator=&quot;.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UNDODONOTDELETE" val="0"/>
  <p:tag name="MEKKOMRUCOLORS" val="&lt;?xml version=&quot;1.0&quot; encoding=&quot;utf-8&quot;?&gt;&#10;&lt;MRU&gt;&#10;  &lt;CustomColorsMRU&gt;&#10;    &lt;Color aRGB=&quot;FFFF0066&quot; Intensity=&quot;3&quot; /&gt;&#10;    &lt;Color aRGB=&quot;FFFAEBD9&quot; Intensity=&quot;1&quot; /&gt;&#10;    &lt;Color aRGB=&quot;FFCDB48F&quot; Intensity=&quot;1&quot; /&gt;&#10;  &lt;/CustomColorsMRU&gt;&#10;  &lt;ColorsPatternsMRU&gt;&#10;    &lt;Button ID=&quot;menuFontColor&quot; Color=&quot;28&quot; /&gt;&#10;    &lt;Button ID=&quot;menuSeriesColor&quot; Color=&quot;5&quot; /&gt;&#10;  &lt;/ColorsPatternsMRU&gt;&#10;&lt;/MRU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By1jlcdSqZniJF4H++wBqtEIlpCbszZaXS/5sK6n5p/WMio7ozJcG9HGjMN04/F1bmkYXKuj204+brRQ8M1OppinvJ1ml/1KY/+VG0HiOgNRGYkaapMd1OeoNlEkwTqUr8CYLsco4UTjWKr6Zx9fqdxg8F2zrFjDyOpRTJcwdtXafpPEhp6vXTu3QXNJwxxe0anr+Nqln/SiVw0r9Odp7UAqkxoNvbU3w9jN4fJcD8wk85tDJFc/jluNDwuLdYJqkP0zJtjdjadRVOX8PA5/366QYpCbU4xS18UIRR2liprNqZoQvJ80dvpBE854QU/60mnsb0g0qvvK2otDOiNr0yZ5NRP6v8GzzhxoJrih3h+dZfawwDHS9FDYOh8qB7Kx/jF5w5CDdyAHUKokV/VvrmMR1StS2DhFaPdI6lbyVpey2CPLmO5TVsGATSDGx/NoHAHlZmu7cmZ4X7GUhxc+3MgU7edWva1BLdaLQ5GgpH4dTZCMHzYi/AmEvyLD7d6jsgXTqoRNVuXAm3lTcrY/Hr/0HFQad44WODgNAGiqa0BGxez3mOk7dBeCFQsPw2YaICSU28ww/kQv3QEks0rPUtak8lYgBac6KeVMGsgPTGl0JVUJfdU7jnfsS89Z/BgErPIt20fjtpLFrneDk+G+NFDK8N5qzAEikOgtuMA3ZvkkIwpztWslfHS88JAvVS9rO7wBmFrTGwjjn0kf3lDcfAqwDxYPWnhBq2Gfuz3TfijNijC7vv3KIe560R+MzMM7uvTUGkN+7D1fCtOutmPaUt+1Zl7MmkmQmcldBmms6tgDaXxUwlDiDPuZLqNl8seoKjCl+2R+gAKY1LuXrdlGHJyhkcCZmg03F/UlTMEsw50ICDq9HMnkDKZWlRNaL4xXVb6DcqRAVmb3JUbDtHdvzqCSvnRBcxfkZ3pSIK3T3m0o/RinWpu52EHmjCreR9nOcCqOYVwAriVJvSHUvjSwdEiQ1dep3N1cUs1p9LDQrpbaGsXkf8E6qc2vpDklh3WmedIg7rQqlqDXXodnukWasq1vzBIgWRi0RpXA5FzhOLcLYaKWLKr2FbOGGlYfRYJ0U+CyJOs/JpwjAM8ik4TMCi7zFzY/F9EQVUuxcizePb4mPTFyM7dJkhUsqMpyRF9UQdMEIre4XCI68Z4OcJ3niCAWirv7HTMXGueqzTzNdD6XS9fOfTpaHX/AI4VSJN3LmyT8gja44nEQH4PWp2qKZr47j+Ils8SQMkO4BjGpiJdWvgVuOIg6pEV8DQOnkzW7YvoLfzvXx9l03Q1s+V6rfAQTkDJllDTo2oLtAOxSFGor2MUvHMifrYh956mGMoicXCxcH3rf0lH+n5kJHq8uBfZC+3rI8Rgyi8loT2cQgIq7XEorqmIct8b2q4OjTX4/Sljj3N7DrcHLu5Y1PwcFyCzBaoPlKtE8+MLW+GiwbamHPa+okzdFmWbTGBf7+jFNEv4U2cJJDbDmlpUMhye13pqzxWeO0CENzYJgTEm5KD+WqiWDXRsG2RQNPUGmsHc7a31N7EfC9OXNPgJIee+lH7DUiUKZx4ufzVXQHYtR9Pq+v+fzy6W+EY2Bzao7+6bmiD6Sei67+m5VykwNSkWIIBXrvyi1Iz11iPs6qrijSiM39JDX8HGJ2djWlHFL1F4TW8wYzilSJdE+vIN9VHWMKa0VXXImV2jE3OMuHUmbIJKNlNYjqAd7HCzrbuUKJh5eU27D0NxohEwMom+eLYWr73ecIwhHjoIi8lz+Pc1S3iEUJJ3tS/6VDMnPACdzKt1rvoPr9ufccgGNP4vggN5O2sJ9a1v8An7EJ6wMK3yiB3HMamzDkEYk19ggcYgzQy/prJIQZjtLnyWIWQ/z2nqSNkUsLUC90wiasW7uIQ4gQZVoBDnNibjbCXprzCAK81Uo8cDgrEnxFUssfmdSckzjUNDIK3seea+68SIh/+EQoVd5yweZni9OP4C4bmid6ILTQ6LQrP5r4EoW3SJKX/XRhu5XcyienKFbZQyP56UCiaINRlLwfB5UpTOExoGBuNbgpNVrMkNaxx2Ckgk0p0BE9IgyXkoF1zUYPj6lyDf5EpP8XBKz8mE9Pmii4qZH5OewxPHlYMDXdAED1bLIczK6rDOBBteS59h+ezOE9h6hGR2fijtGWSrfmQyXM5RKWewHK5meRDtrGJ4rv/59HY+VzSEmClA8OpTvCdXvtyUxGWEGwtKN/9W/G8rjRiw2QhOg3AijOmOx+gCQ8cHA6qcr5inQzeLLeOAYz5FeZYDnoN8QzuoivZwAGjLlXJSmzjhkFCjFT1NHZzwzDJaSAF7Mb0trnKRUfJMH+oI+7/XdCf+kuICfKVqYQ3Kb97I802wN2H4octAx9XZqRVANDNZlQuIvGXRRFu6qwIjE9fQREXfeglWOIxwuppuO1hF6iQDU5DGIbLOt0PmmMJaXmAGmVY3Ai03S/qXMtju+bFycVEq1+CEIoF81jXLIuUrp1inBFJYxc81b2g1Y/kqFla+I3gc9MZ6E4fmSlrUsXM041FDfLqRasos9mkhmUQebIulQzmzu5a0ecWOBrWcImCodZ1HFdIkyzOPLIIZ/qTqqujUs+7PGvSET45ooPiKtkanEHaY7wxC/xMYL15SykAcMGzWK1N8Kh7dt+XRT0wy3OsO76J8BHQp9trPk0j1lk0KznjGw8mXWmMKz7klFF/GcCSZFRVhv9PObJ5iS1pq35fxqmvy+l/cd6vC5FdizR1OurCx+wbpehcq4DLINSp/iIjJ8TsLmd0Lp3GuoBmBuCD2R8G/LIsC+eQYpKhdoyemOLg80JLUQXj9bdbr9QezBVRuhq47H5ARDgP1hV1fb2FjbNvvLOVyNjLfvwcNPQUVC6hBRF7Y/9MGMf2pmczQLtHwY68Glgkzl2bD02WaockuzSX/u2rkesXlWWoWEY7BuYsq9e0pJyHndExDUOHex4mpA6sWPz+IYCdcs9KBmqBDor9II+tAwubwFADBd9wnY2QN12slERRJSPBx2ecpr9n9HPia20VxvE/VIbjag0hEvRM8WSuNMGH9+P+3jeYtxGXaWX2o8VqJa9dnPtpTWQdGUgzhyGmzxSecSr1SrzO3wZP7VvcneouryY7m2JnD6S4v76exsc9wXHhP8TwIr9bkpnnu7aVh9VMSAyRzponvNJ1VgLuFVyGbK7fmP8kd316zcbBlx+NBDKqVc7BqW8fAcANq1T3PhqWG5JPqPrLfavoQvZ3JgCdOoulX2MfR9fe2e29LTMEhGsubLYMMjrMuKCge3NC55q7HRgL6Uh1M1gQfU9uObQYgHrhUlHGJAeA0qe0nbgfzIUg0UiTRaxd6zQVpoA02eohyH6BhqJR15h8VNfy3TfYn8I2KJCMdSSm1TQW33GNq0abx/Z1hNNNTvmvL4Dpa1jeSAnpuagiE1f7hLUgD8yTEM3mcBQ7oSs0dQ4Ppyn9ZzWuDDULb/8ryU21ou1PmnenRfcFZjDxDtPIf+2zmx64Uh+BI2E184wlu7f2WAYPFS9OYcWGVEjL3QcUxijWsVdsmFbMXmkzYKiEhJdqWRD/iv3jcZKxb6EfHdCBBmrTbHL0N9ni7YK+BDZmStvsXLF6HyszM+l2PU9yl0LcTJsoGr3Ma2Tfw8Xn62STzTGkDaDg+uyTZcc5xeNl10jaRNMpT1s9YVRZeRlbH7H3IABSiwTUm8OQJjpIQSnX08yn8tJy8ezgSoKL8qi9q8ccv1E1E6BBhF+ywMg4xdUMbj3/lPfJ8a90R5WpVfKFF3wOACTM9tr23uPWtKMAjcxT8OzZpLMU5LCpMCQzwdYOVN8JInrJy2SbPHjzdWd+ZXOPiX4wElwpNucKnMtJNUlsUucc7sbpyJ1EMRrifC/6vgug62JoI1XQuFJo7hsS7eJ+T3nleluHVdFmyyHIEvHEUdtMyA1ryFA4lTGDBs4sP0rSQnsjPbUDFYl6FBcChnoS3C0P3wLBqhXIjdLlHGqfuOQwihpC/JF2HQNrEC89LIF8vzINE/GC8SKmgnut0kYhjyya6w7i25nWoknA4YsiPyUm6W4urHlBXLV+lDRhzkmz4V6BfexxVw3bbXC6Znf00mep9DlFpl6gYma+RmwpLs/ti9zhFM6nHfaSH1WUj3fj+bHKI/23DhVOuQV/qbnQeUEzG2DFHOA3ef0CO2fn3yzewyYogAKqeMEYgGtGXtZ+rPn4s3cNom9N0SeejDaxJK1CST6y4BUTdrGleWSPwp4tSdmwQFZDn1OKQWxdi2M0fRtoNSwq4FFV0r8XQGIjM5HzXSFnB+0Nrba7tAMDDxF4ucf1G69e9po7mTtm7CLJbuiQJ7BmXvSAhCo9SneTuVBf5RhKxmBpEhiZrfZBWBsZHZ2+MQ7yuhFRPW/mVKag8uPReYxSZCmVv6MjAWEkjJeR13Cy/21WS2i08sWVo/Jsmchct3Vl0SYz/GEGIzE6z5H8i8TFGwjMYKk2uY+qDyO6L5Wgm2x8/Z6MldzqzaBmR/nQ54hwoif6tH6KZoF2NNrLZYE6ihMX7fQ7Ve8oyIQyYNYu9FSistdcHEftTYZ4Gudkg+0caS8p0/J1LpHcOPSLH8Ew1t4CuPuq8qbB3roPML3xx9bRyAhkVOpscY9IrH8ihssEpII55Dx0NwXJlYkZqlCgFtZHqU/Eoum9m6Zg4rIKh1cO5Y4s8IE8nYqS0YIthdClq5MPm6X+T2aL+lq4b2hgWwNdbWDvn//n1F9mtsFBaQebn9PixvdYLetM9UBBomUKVLrRqzpNrBrK4HnmHc/AkSp4PkhUmsjDALk53Gm2u8Og23KFCY+nqiICVH5eHHG0biu96bWQfBVjMs6UAMLQN8cp6Oa9wJQel0oUgJYgJ4rX4Dm4Ip90qw+uWMJhmjHa/aB1izhPkLqUa3wc6bH/1I2D0iX1GO2o25Bs99t/kJVNjTuZKjYbtBtSNorIddbuMuM+wq76eGIAbQcShpdcVjzDDQ+vg1B9FR1LLBFyj4E/5WvCmJYkq885oF6KvO6uL1TBEU/mxp9pCTZwzJHsjdWpdr7etgUJM9CfZ33m5MvFIuffLNERcaMPCxpE1PAynP3M7R+ohGlsb2/s4LEl4PDIG5EaKD/lQ6dIxFH1fknNlDQ15IwTz9L7JC00OfbUZz9N6RnAUaz5eCeasWaE5rtX4wR1s0ZdvKPdeWYLQcwPBx+9BRvW/X58LSHEeVfs5pLNGtrRMZ4sVq9+qv/Xc2jbZZ82GEUOAEnaq1YwxhLjpXfvp3gjWCs5j7oS08BIWuHhh/gjwtU0sKvMn+TYZzPmjldp/O6MDygXWrg0Sb8xmjy2G1iOeQD4QN0NhM19KmCzc8cl9aeghw1WiYMKwx6GsiO7Sxms2Ourogm4QFV2xfESgY+hIb+fPTg/irOCnQipDyhqOeAnFiiVq2G4jZYG0Uv4ST9OkO/+JyI/UVv6woADsOxDayL760ILvuk4hxrOlBob33PDMhhNpC7sHWbtTfiifocRCz0Whxpf5l4YV5TA/neQCwVVvGkfx/iaDhjtgTfirA26kRqXxJ4/EU1jCg84kml5+pvBXxNFK33HbHKI7wDbaaScgxQ3LJkpipY2xyZ7cqjTZEmUzldkbAO2hw9TuAM32n3V3oRjCN9DJS/aD0KSDMNgrKdAX1TSFBimuTgQZuoXPLtCmgYuPocd6Y512i9+trIKHCx9cavtehCFJ26Y0IyJHBbGAFyoq55+Pz9aBoUg+b9zm9rDPBNtGwVI06sfDZPIGrJTtWKRtB46uRxK8HOkLyoV4R+JFWJIMG/nen13yZwnQZN5Hb9xT6yuiZTdZW0h07gSSxgvKMX7NMWNSWklIea2h6c/SpZwIcKXyFSNwstVDgcI2gaMqzEt2qKPGzxxDAh+J3R5txO6f/s9ZS6r6RpNjcoJbsafYJJYGW+4ye2lak692BBnjoidtC16zvCQ9SV41AfE4XrBSmowSSTBJg0wwdf0h9rOOBQCz0f3uSY4AA6/mjyBJY9BH1VJdBFeGYzrJ8xkQEs10FjqzSODuURxq261Q+PoUX9dPiUl3u1v7DSgYfub6hrSAOCqZ9HtQmheXKn4uG6dB8fseATlOXM8v5xRKPXSNWFDMPzxw3ce5GwCMQ78faclvG2nYCunVMK8IGxajlJxMgFJMuoAjRJx48wxS6fwdb2wt9Kx1nDFoVTbqMIhqkJBxC+7EVJ3VLYZ2ptG8ciE6TQkA6Um2Pg3FPQVGlWNRuOBIfaZKXEcmNQPtsZNCO6mHDDLo70X0//ZcWUG6ZaGSF3V6n58VrCjOT/4w03XE7pV02gpyeOM3TV/DhxuGFhMGcysU6II2KbK4ilOcy8YgYxRdodaS9XHfRRC4+RapVSov91S5fcx+ePEMdB+2h9t9FscahFN49CUROvdFtRbeAlsGSbdXcbX/elwvwtaYPWVQTW5SmzJ9VfaVBglWs7s07wNt4wLfexUvzKW/VdhrZheHkU1RBMJIw9Vv54Yk0SmN1QBR7Op4+C+COB96X8S9ycxBJsoIQTY6tluGHNEmLwDTu9wEDvk5MpI04q9p76OoailmMlJo1MP28uhmatpgWoAdAb91GNdre+l/hmrSRN8UQrh1PAdm44PBllpiaQF72e0gZeiMQKNJSklvegSDdYaxouNLdB50qJ83Pg9EDBV+XaIH+WHygnXxWEFlAqIs3FOzf7vCNSrBeAfjxcoci4PDe5iMKpPpSPlRQhOT1bZzNvbqCBQYkmnXtfZIgjkrlQebHcdZSfNAdWtPZ6BPJi2pcAnttjHeQR6cGMdnF2B1PFVOOh48y8g8H3Z8BCATpjhVtrZZxee7azbTrQl/WUc6mJDe9QzIiuo03mZ4tuPUWe9dshBurggZoVMc4PK2Rtse/N78BfOK8KyjYtpajrm79VWmeG6WkP1qLZEbMmvwoWTwnrIwjIUs9cQzPnEnT834Ct2TYG8t5L+kKjOU+AtXaO4y9ok9IJSmg24vtLZkldiNTtFPeIIhvACtJr/oBNIUabRn+HZMcFaFiK+kxuAAC6pTplstM1r1kHk6+24ANBVGf4hKqm+cin2MHALxb22t+30HKJt+05X5UNPGbOeZkAsujaWFZtBVLsmL1DAC9DGo1qbYU4/MnHN+Ial+MpZpwHq7kBrn+9G2n3IKtyjQ6WPEQ8ceiTcRq21qeJKUs6xmEP3nEdPF+cpolHZlVZwj6aFIIRPxl++PTNOfDT8JiW8j7LFqcsXB2N27AsjBUxeH9Hr+wavp/kC1wmiOuUZUelmTQyQ1naofl4THEJY1Ky8wk/GI/xtRKNvpvVLmWV10FjkcqzxDWkpKewwvUsxj2K2R26Xrc7jj1t+/lo6LuJlPYlpkFk7GltTWdRHpQoMOJDmoXvawRWDVn07/BaJb/lub1D2HJh+RDRdUjI4OFFRBqJiuFeAho/UaJ2rxeqsgxqiYOKmwRICBTt5wYaAwNkYonRDIKmu7eLMnjzB7OrYBHzYvpfFluK9DMBD7PDpe/jt96i76nU+qE1KkDT6OTr6b7j9QJMhWj9zw7oD+XoEi+mOLIP4kbi710vj0Uat14Q5D/MkzxjuveaQmJ4ZMqUxR3FY7tqwjP9aUMlAwBxIPS5SJOYufg3BQEtlnBcEwuUJedhlmHdVUV+CtsyXjx/sCJWEubBEVAOEEIalUIaKvNYmF/szh5uNEKKrJHVLHr7b9CNd2cJXwuXoi9MzWzDVc0nrq0y6sL2kkO9Cw/Nuhp+s1HLACkcLnxIO0y1bIkf5tpeqH6/KOtNjC9vji5FFqJhB//Jr7ISqig58Cw2N0B2cOc7oharZyc/Ze+bc/2otxhG8YLg0lGS7hEDThUkrz1VuGLA4YQyQpvaVWb0lddylRlvze+10GMvkxBeyYNyF4PWmbuScOW+qi56K991S7v2BwJpFbxuIvpeNahOCYe3lggU/Asz9DMaaM7RrpyUnmoyysXe+t/mt00T6vI0iRt1H9skpxxDJHLlBPmwINcjnlqof4o1hNcU8FZCc5cLUnOzgs7fBb224lMBofurO+7Bo4qu61MF6YU1PCwb7q0UqQ1Tv7mYWeH5pioaivjStzc9I97nKDzjybuf373S+DTdNCgFUwJITE/K9ie7EOzagU/B2GbbM2pS8di3Casq/ovzr9pg6fg71kWf6+OclxNEn77Pie6uGD93FX75aHBrxRDkYsoVeecXcbj/WPtIyZ4Ndiu3K5o1EbB93eh8p1DtMUXPDQ48Sjtwfc79qNfNoAZvLkEFqaIX8DKcaHwYdKlHGZL+Hs1XooHRxyth4L6SENQlipKUx4GcD0/a5wYtMWljJ2IztMygBLLO+XJqXhLaGSH/MdMIO0F2Z1dfcz9jW8AxeWsbsZDlPHGFz4vfnNgieVpu+mwo6d5t4AHGACCboq5E2J5g3vu/5E/ogM7P00wz78dFD1EnEt72c2mdCC1KIrycZ46m/K0Wi1pq3VwI1B32VCFh8mQ9sz0iM4dHf9EC2t/JFoqgokDbTQucilB+4ZVs/Imk3I8rWQnFKUMqD8GZY4wamq10UbcCsv3llmX+2wk5ta2YqhnNJtVNkEKS2vcRAYEq1EMlNqTKj8W4W+utJ3x69aZTjYGmejhViRtCgUVcrJSRdZpkm9QykNtGyrxUYCJ8sGQSd45b6GDWpFgcwIbPTJAkcS1l4/lVd520HMcHBLuIbnWtD4KLMdV9o2VnlSs+UG48JLtfApmhIYsJ/QJHOZnnI7xpKbWzN+g2nTX/fm68YAxXM5zPnMN9ANSZ7bYLAHZxswW3ibak26FXSJLVa6PxicRPDhG4so6kIjDl493iTGHdGIQWE3Zo5T1a/kEd4Aj1/w+I+VTCsDR+HTawUCu9rsGj6/PWP4Gfv/jDb3INuwfAtcp8n4h6iiuOCejwOzrE8uM2d1hlqIf9xzF/5FAzAlzBYlJoZxLK2PZ/JJ8piw7F3AmieDlevhpJ207CtAU3TaS5heXgeJQr4vAiwveM4iB6lX+4AlQVI5gslPn3Sp5SwzSab1m2UiSUBva2QTCjPnwD7rMWuM9jRwummPN++EZ4s3gtUJUs1uj2jN+Da5oe+u3EaYoLtsGwgJ4bhyhqCWrIHKHX0R0cGPK4UnGol5Ys4rF7YSk7QMl0dHOjA1WMHt6Tdg8h7pZZIsGfd/Zrpjn4fFjCW5fjndXSyJ1eeJTMI79DkcjoiMluZhpNEBjbrt4jrxFa8pcrD1n7S9ac61bY/486frEWe+Gv58P/ZEtWIGCfN8LHbVU3PqFm6u6V9MkTrN6zD8Mv5tsyOm1w9oI0j240vRJiMj5VPptjOaF5PKOYlNkD/1fUkLCwblMWaAaFgJloEvGOkRCJsP2fXhCWO3HPreYzmiUaHT+1vzEoMsv9fll/Qe+EKn/z3nKiNKYw0LatTwBYKB6HWkEEVbcQAeuNjnon72ciU73WRgMtpk0TrjCh/8XYsky8JNcL7NkihsWvKMpirjmSD+4VplmyKlGsH6OH9XASnaLjU8EeO0XeLuN4qE/J+0GNp5yqWBUGvsAsiCNx166jdzNbWUyKUIxFBVkqTMhJY1S3pUHD/f5lSv0qxhkFveqqJ78HDwjcjk1W6uFklDnuRvn4wIRJWP8asZ3yxaH+7kL7uSMoTEBZSNHZIc78TRSRLkMlzDztdTNiAYdfcCO58qIplFP3upaXAR4dtRlXEunTLo83YdQ28lRKXWu+Ys16VgO2NhckbWPzYrmRYiULbqkwK0ttVNr84LdZeSr4J11K5dKeyVonRL1GRz0TSMzru8DyhhXgSZr0jZQSKnNt4ViBEefjy5F/f/vtpplGoyXhm4vZe4ViqSjqLm5gClsn5zaM33H/Y91Gkn8rvXmXT7V8s3g1BkaN+NxuvlH/9qI48HZ7izWbKPoblbx8MOEV/m29WYFp3enps6UnOfNdlg1rjT4lZKQ6MEoJXHwRYTd8QZeUwq9eTgH38VpwMk/kbgYfhSzmL8zeScL9ZGr2+90CoqnciaBSda9XjOZjp1ZDanV5txCEqF8fktEtIP3Pdq+NzR6Nb03NZWupmg5Gk16Qd2iFPkVxnE/La8tFQ7xTvb58QBPZ3dD5L/EYrJE35oNh6fLzS6/Qtds4UJ0+zLbNR6f0tfVvqbjtI283/RRj9uOtkQchxdjDbGSO9YxXpmJIEMpvhr4cY5b9KPRGsn4FXnZDRt8lfcWWg0qGB39+n680nnOMiLAm4LIuTK0dfc4/k7dtsG40WTKnCKSH4rYgBQFLr7psvVnlpZ8CZyZ1jpHZD2FYFtrFj9eMmaBwLCBE9otoOfQ4mjb6iYlCJU6UPkndHWv0BDD7xEje+1isR+dPBsSgOlirCpqrijnOCgvimmbW2Btsu58dvCJXEFnaFrdbslg0Om0n/S3d+L1yRdiMxZZ+aFB4cMXq6KJrQf72yRojDuaMlvEnsixo9hoA16MhE+6B9n3E8vRJsDEVtYCys7640SLWxfaDwaAn0WoZ4WUIo0ShZZqBER4X7qgjTkRye5+pojMRAPBkS2f2e+k1sNEdW1koPtGR3DuU1Kk2JF1pVoZMR/SpH4CkPqshQ9UcepvmqfeR93boEHaJy5E6lfJ2S8/CQ4d0+waO02CuD2EqQOTNalwlqd7D4iNQNj7pMzMs0TSHbH+pozLhUJ3EpslMDpNH56hJl4ZyyKQQi7eRaJKJnVOh6QpMzoc/hLx5b8WFKVYbMi/cFaB9xUvOpti9En51iuhdKJ7YAXGlblHyK/0UUuLI/b7wCZExlx9SMbJII5H/ojeG9jdfOdiFB9ExHr+5xcEYD8lYXKi6bj1f6UFE5FEzU/aeKaHaVSInp3e8nJYzY54JMw40oy0MznNqWVp38ielicvtgbyIy49s4piVBKjT+73+PA5rYXwvCFKWHFkZYIS7DAYXXnws8Ht08binsxt9n+yU/TO2mE6OGQi0qS/4K50L7c0lrqv99Ru6kWNLOrqO0tQWmvEH2k3vK+0XGnRIwvJ/xGwhDfMSIwRFt1sPp3spjAMZ/EsgaAEBC0Xb4Cx47P7A8gP/Z6PqxLE48gThXq7EQ0gfE67cL/ARLFqSceqwRd/yYqfoyhy8m+XzQHjWpWrdzKWp6x8TEzLmLHtquEGIr+fPNk3QNF17IQBaqZWXjgy+39Pw3+1jFwftMM6jd8KtqRWRaW3vGqfV0nOJwPIK3As810Ed7rwSsetTYmmbSZtmK81U4Q5XBuV5nO1D0ttGUPsy9pYinDyUIvaIiORmro/D4o4kW/5aAkEWUqblFLHUhtcyNruze3VLRFmL7iSfBz0QA2onPHg9zh1cmVfZkLi5F4BCyVOL9xIFKpuCF+j2roIVAhurARH/CGAHqHMf/DfsSRWjKblsTlZTWKYnfqgwk3mjQfCNiqdmdXrdZ+K2BryAGJeje4b5tIcXbrElBQgC+5KLciLouw3lrwcEXXlfgJ+roJbbK1k2b0AoXFeoxmOKAd7JM4bSpGMbr17B/O3NOiis/w2OrN/YSopQS8C+maUyO7ZaqUsiTeVK/pmH0NOQo5PeKiQV9I9ZuhmhLkuow4R49W9cM1+5qT7LHcx0CEQX4tKtU+cznf5qZWVMEPePuvIpIX+nGL6KLF4wJZ+h7JW5SFH/tQ/6Qq+QeiuiE9DiE0NQwlsoEkBl9xxtSktZXXBXmnc+ITwx2ONjdw5ZaWwoA+4AHOZV9grqPWeJ96UNYO+WF3fPSC8/XUfef7fIBgis9Ck9y4su6r+zg+ZqtXt1TO2STVQvLrrqCG1PjYS5pzoiNSnJUMIHx3hwu45NX+BPcJUsKGb1lbmHnkZBcnJ42nXJS1Sjj170GaDO8QoLOKlobqNmwWvfkf9QSg4wXeWE4vs5HComD4Se6V49/2jQ4+vTpEtSvMT9uzgZAS4VpRQGoqWaRk2YfqnoQ6Ru+pEd8GDZWWoYKbx1wV4DbyTkQ9iXIUEy1Bg/WA8SOP121ZQkB3p/VdNFLLBfzRQxdHRNE8m0UD7Mn+W4yG5O1gHrqo9BZmKH61827rwV5wGGNuhWFK9x7f1yB017dSCux3h1GmD+TjdBARI6P4EzrakjriN2VoFlhdS43IJrEJvovmtQPd02VC4w72wJViYvV2cTzYdq3bGQZvObj7h1OCJfbWSq2YJlUYmYQosmAEHMAxLquYieRL+yHH7NZ1YiEg7ZnRK8yy/myHIEfxHV7ViJZEdQ+evBDh6blVpzt+8zRovvVQ6LLRuU8+2GIpUErJwk4BQV0DJXZboeD9MkEnGOoyUm6f4HyQrXAqyzDcr/DPCx3BERIxtk0Xd41lqmbT8RE4PJ/tWjdGxmvGQBwwJLMWqG/iXpzKjU3QJ63kzHpyhu8GAipZGctvjEBYtOdoVOrSFJgljdtzhNhek5dE5aeMhawVGqG1yC+I6kw6GyQYwWX3HUNKsQSCRtmRZ8SWBMy33gIn/TD6TJRaf60LpRsqdT6jLbSntt++AAGdQieJZxyCb9gDYMQeRfvyyjOHAJpO01AH3KbvQD1CSFFZ4CukhlTDKacXcFjBe1MxLMFPjNbucQac0/JRU720AS9AgIAdoIrHX6hxVBntQO1L0ePg6vEUI0SzArq64C480v+V+7qOfp9AAyG5KXhvqI+SrcPGzOVDSf/cRge/5l7fkIBOtmD7G28QTbfFZ+SN4xx7UY92t8S88eiPHIGJmqxS5dbx2mCndvi6/B65c6QvaZwTUbfyuZjL4jPCQm4/Vxt1ldl3IZWoXFLr0KH2Z1Oh2QKUjlF8lC449vgzy8yxwmKOhHr1yM4d9ax5dK9HATqC5jBXJjBQOORGuxFiZ8mPRgb+MErqxRB/ixlzQ7NZNnfPXv+Mtw6zdFtGftLMlWffH/yftO816OlC5r++nLhAojshoKy2evi0IhxHtZEA55ubuJq+q8qElpQp5FRc7FOL14UtISsZ81rmqVY+K0kkFi3bJs9P7tPzU2TVC3IWu9FvCD7Nz0XNcGB5Q4gH2wF7hNnScsCGjCCFgA6IsKfrEdNFQ3b0p+YI4RdOzEDG1u/7G8f/6LDWsrgguSK3alFW76NqjBjWr9t0FoUQhs8XsznS4QNSpMBlM2LKN7PWRXko//y8uw1YdEKG9arcPvA3sWHzw+EMqj1v4aRcderL2HxuXDAWbw9x701F60ATcH6PJNQfta1bkL07zlOQTmSrdcADFRgiCJ04e8TsSpR0MYbNKVEGmAZoBHXPolCQHSPK0ZBVvKdPU3YossKajgvJLLapQV+e3xtSev6xKtUyOcDm4t1Suxv15yxQFF5Nd7Ha5Jq2NbsFniZtn1LjLRib6sD0cXGt9SjqK9W4e+cjYppzB755ApP/X/1HVa06fzc+ft9GzT/iPrK/LK6biTqbrPbOd63ydlRoodeVBc8mg4LWWY6I1f/pwoWswGRD6mXSBFyjW2/aJ/BRHv649Vx1l237HvIYFSil1nUjWoZrv8fl0fZbQU4totPA3kc24K7ghnJpSiChf87Z5lk4o07tX2BuiErBSLeYrulN7r0xKiRpwejVWiXIxpvi4HUlOvPxJzAxoIWAi6Khfs5JMjn+d0P/8vnpzNTgMOR0/55ViSK9CotPs9hPViGSSgEuflJuqBdbCKkN38luKPKwMHAtf7Ozqhp92Wjgy3xddWQ2ntpn+SyegLl66hlpMBy1vd93Tq4pbhxttdY5xKgCNsRMG8HPaC6QG7UjZcgmvlRlzZdDByeVWuUFXFhTQU9TVbVvk+a/pgGq3U+hjPgpy+V/KoXdrifVuvGxumRR+nxWJ/7fx8aEaggXnau7ZlYYVRsOsdbBqd9bHuGff0EVP/jy+mBezEIM5anChpVCR2I80Q7y3n8bLRh4tsuo55m8bBOPIwMx/9XvJAjjKycbKciOkPBGgMbmceU/HqCHzlhD6kugd2Vc1NkEeAD3zrR6tbKdO/zfmQ/vHV/lN4Tb1lmXgjbZf0tSiRr8FuJexxiyslqDhhiXhye9HLElIasBrEwE3qqwnreU93IeIwHQ7uO9ZsrS+QL+NwsK/qRFue4MrOMTaWDfDh0J3Sz+6vPvrmjNrQyzMp1t0hqD9Os0gZcLEVYHpCs4tUIrK7ssevm6fEmacW7W4F4bfi1pK48Uj65RNYoM77Gi8MS4eqgjPf0GjeG+1TXnATeQK+L4klEwtRRKkAiEJX0g5GP+FLFTrz/wWVE7yk4mprSnerGIFnk/xNF5+fXOygNXjMgClApq+2YaqzGklr7XkOdO0HM8z5c61w1bSbYGsvS6Hy4ix6gx1u7oIp4u2VODOpPoPFF5U0zx95v0pLDH5aH3BRfmVLmf5HKQ7SUOlm4WoB46mfhhMll+sAmJNBsfEe2co3CPwKf2w9gw86bZS5L47SLsWlFwZv/0e0rTRQYnkxNCpUEwNyy/brptjEpqsezD8oBuyhq3kkG4l01FuvfZv6DdDoj60IOZo8S5vH8H3RigOEcYBffTIWXFNbmgORPf/YW7QukU0Z33bG7KrXpBqZfxGqmU/KzFguSugKI9tK5rZL2UTo6kC5wlmGvE1bEdj2ZUzhnUB+jxbqk+eX8xlacD4cJZa9IMF/rV6Rd3gUXQ3QcEB7TlH08UbPxJwmZ7CImfQWLIy4vRL5QmIASw3VHg+/KrFcgadkX2SIerGFG6JNCHWqSRdw7hc8AgJBMXhuqhh9q/ySJMpHfLiYKM207Voal/QtpV3I9ym1vnYtGoUNIvOpozuKsL2aRS3jG6luk4SkMMInvszJpgOtQu7kqY1+7gGFC5k0LsT/QLuixesGao/k/0iWr+oT93o9LaAZzQk5PZiwssFPdiregf1lBuM6BRF4+ZG9tuEpJlL8Q+4ctnr9yJ3f9LMqe1rkcRxWUTDTT90Y5/RcOmb6ktsM6prnTr3CIQaLDK2gapojnqNbsdISCK14LfDqP4I68g1yHgK9WDpNcmpZElQ1ZsnyYXY+vPJCmReqtjqBxtr+rshtu8bhZhW0jsI85c6XbijkwgjcDmuAJiDsT2Ft5K/MkQ2qenIt5AG8yRzIjLYacNVuzbrvz9kKMltKbt0KbocdUz4yd1bfqX1w1XLWvQN1gjvV3k4YSOjUnWRlUKFjR851wDI0BjAGs/5lUJAHStTbZ1hFztymtvdScIthwymouTPb8isrHWHseisOUjyIVu7r5swXV7NGyw+DgoHtS0Nya+/3LStwoSa8E0OYUsi+T23jxNWCnqTDcPeGX3rVxhAZTYVEnEKaJZt8lU/3bbk6sYbUvhczHj9h2D1ckfM8B4FWZMzvl9ctaxE4HKAzeE+htcaMYSaExYSz55s1BBBUzaIBNhhiNX0tF1OIUm0Gc2mvRDteyyTBY1nMLbawnQDdjwZPmt6NCYIf2sD0kNceJn69q6tk0RdFi+vvX45L8a5rVSA8UiJrgFiJC4MEgUg0bpPOlWNxbzXRuHYe26S55YvXImRbwARVtpcNkIQwq6A/ebYmZpOlYoBnq2K9kY4fPd9tBUSJX6sSujrRaBBe+7B/n56K/g92OjcE7DgiYe5WfG5iQcUVmViwpon4XdhEjKyQNA3qRg+WldY/U4crAKlwMuM+TJGziWWjRGKOlLAJfVneIuPVnLGnE0nzRTgtN32bhYIKcbkkxkKd52aRtOA/CsIfuHHEBQJ0V2mR8tZRSCgbxqGMy4JBwMVIDxjbvilKGquoGDO3YMTIZw6wIwMg6XwGAMg6K1+XbhIPdBPsfkM/KBqu71ADgmg8280LNhdw5idKfjnYEbZBdcT3YVvZlxWDU8ymNoQp9Qjn3tF9afDgo9NKIRsrTKkJXRkEIeM/Sz2jNC/V1JpJd7tuF04cNEeY9OpYMREyi8XpzyYKL75r4iErE0Fn+6ELZ1tnP5N84tMcxz5m7igemUZP2SLyFOPvD2LJOP+g0DIsINBxWIRb8hVRXmbY8RZgcnukCdlIfrP90f5X2w4g1wZLWAEZj/QjC9lC0ft9Nf3I7CSizSfF8Rdf8+e457GoZRxjm2z/WE7u/7cPOXpTeNFSd7la6jFYWboxADaJyg17RUlzkzbg1X6mix/JEqIS47xPMejVOtZ9DwyzdKRWI/0CvIEdm0CEtyuvFBGyEclCtDt80Ju3rOQdhL2BVMEDfrU2Ivz4gZXuT2sCuncVJ0S6m4Xzbgv2RvNChhuwf4QjsC9h50hTrGq2TN6xQ140xrCKEzvCdv9crYqk4yaZ9kRT6Do2viicHhpR/5J2VaduxbgcEkEGalBuE6rGJQr1gECI//s6ek+skwZnL+I4xUAhtqKLaP1ZfhQuCFyvWpt7beciFpVClK3yXBZHyiFzUzUIkhH9N0MxrcE+P5y5gdJADtSfbyJ1WC1UueEE9207YCK5lsDJjSOXQOtS9qgpZMZd+aaOuEWGvIqhWaWmUlFjYtAZ5xlDE27Apymvi6Yug0sQ7OuX8wucIawSHE5GQ1SLYuxxL3/3lnOskFiRqw0RBL096Yl9YptyxeL0WysaqrnEPnvUPm/RWjhBKAR4FWVQ8efNSy9ILfsZuZ4G3djU3Th3o5viIO6bKyWbwOFBoR/IxcHytMKD7OPKKGzRQHoR/crQ+OdiIX9IaEkV+AWaLHTpRlMG4kVzI04gJv73meBm3zv6VBkWf1APEm9jAVEN5irhaaRYsHZHb0otgVaRBp2LEvnJqc9q4CM8bR4uduNemhh4z3h8KJKd1v5SOG1XY8Q/lPr7jtTAakXGpJaCX0QfOqIhOVyDqOGLGCNlb3rhB4n44diIqyaB0Pwq505wBvxlKU+UNGm60UkySkEF5z2Jvaog8RYABGwk706OYBwGizPZ72mehpZLV0p1iEiKEg8A9HZLy7P2uWaBhVVdTypyZgCfmq9UHr+U+euzbBJyFO6r7FX9453+p/OsBls8GPwJ0zF4IKiwj9h0CDc+7H5713/uJ5OkqjOS/ghQYt57Dkt+akTjG1xlD46n9Lcw9yZZ89BEgwYNNscmjA4yF+lkCGImCuzhxip7Xu6RRLXtddRvoZ3kCbFKEZ04RBns9AV2mWjb9XBrR3gfq7YIzYFgBwJjfiRkHqCJQYYgUdP/kyVGi7CdFUlFr41QM35ZV1tJxMq20gpsOzmwkFwvCLV49xmpbLRuO5tAuSm5OAaUkBSqEa+7EXulgumqXKipDLSHKDDUlxoiGTwp84BQ3Lvo3n6tlK7NX9tcPyocrlbk9AEgnI+MPRYB2Ewu0TBnso/ZPG2QBvBgiF/fPcH78PfEFTuleQ9/kf2eN0iY+McFuJqddYNZtbaaPI03WQ47ZYLhkF9FlR8TPeTZQFif5SrSLyv2fpLqBJPa73Z3HopayGJcy3SOCXMwHwD8x8ANx34Y2tHR8NJF/XEwaKlKA5dmNlx5mGIqHwhQibd8DS4WMBbC+pVmzYlty6S0cyGdhR1xxENSnsJ5okohdrsAMsOubCxb7Z0rPgqyvcsTyMiJyIN0xFdLbh5Y3f9XMszDHPpgVC53JwGBH8UMYvjUeysy/DnediQ+jdnOagjRpF6mXnpzuoiwdry/ets8TBBKA8H/O6pfujBlYbBiAGVwrICvDZUl2C0/4hxGHGN+WV4UUJshX6QnMccjx45A3n+rawZpWK04snSQjly1Niqvm14HwDpy4WEbpPKdxPl+nvGgf9c2oO1PKvkfqEN/uhVeAcaqJZx7Y8992x7Ob3xonjtTYFEQ43CGWAuiM2QhE3gkNCHEhK5VzGv9bFuenIhnFOAZrL8wb+Ahy6ZSt5am4cpzrS/W2K284xsJc+1jIXjS1SVOXMo8FuRY7zZSmaVoUoSyI/rGoXkyJmB3F20c52MTW/adCaapRXxWH8jgr+26TfKonLnjL5OFl7WWBdoc+hwcAV4Nl4xjC9Yhz3jlalWswAfONqxZOkOR6zDGEPvN2VR2nSi8uJCP4gyQpVcNSkruuVQwO/YaNbq77y4c8tA00LY0Wnmns+0ASvUc0T9CQkRclut1wb2IRF4ez5se1cXmnjM8+Vw7Hsx/u+weNbJVA+Xwg3s8JiHa1AG/xC+WRrCVpEArW1huh/I9LZuvRfwnWQ9FYjPTI08JtK7ceox1F5ag2+oT8Lfapw2tONI4ixh6G28a9USdqELZVXrntEGEeEQwiMBPjZRxrUePnqDW+1uN5H3tlzdKXKCX+UD4/0/AEC8EUWyQKIIl6zOpPGbJeNyHJ76xFkBrvs4artI++2cYR7SqGhdOBXlIpy+8rYIho/Esv50YEOyA5fGpzwlC+rFLDQkNWSfkP46FPsk1/+HhaK896ocsFJKTeMoQyjN+2wTSOyBipLKocJPEZGC7Zt03zWpEM/0nnqE1dMF9ZPvXa4c1/+o5HI9eHRc24IgWr2d0vB2q+CIjzsVnyPqulmUPQ7PxOwoQ0agsjkBkyq655iWmK+RLCURTuwqiH2XKjEFDXg+hjPl2lWDjwnpkZ2R5BS2hyr3X8x45RRDYeAEJlF8I989T6rJw5a5V36C5SzbWhHCkeTjowVlb1LXtrz+TXennjZZ/lYB408dP1Hm5porC4orTzGc/A0hK5gF0wcye8HLURbxC/BGXZfEvaJZ8Wo6bFUG3TBhOx6pE1YqMwbUUeaOGvmH3NTjQgF1P+oTRSGWOT7zRq20ygJjFhA2WkO45XBwYcz2HwOlvLSvxycgz0LhQYsdwQHgsOFAGVG84LreHsXgTeXSo7wXb20qteGCi/o4pyRAJwVm7hR4ELr8EHD1DnFwB2HGbcOnFTSZWzOSQLtGYs1CDhtwnUP9Zljo46Q0Fwe1SBbhkZpt4eHfxu9iDWUbNUrbvzAcNsVdgSfaxIDw0tYEBpnhbU0S+qrQjGNbZJvc8YqSNpPyhDEUQsD8zV9lOJnqS5GpS/H+d1h5GIQohkU9F6i8Bpi8nZp1DV/RgaykSWypt/S8xcGnUgoPaUnJijZVT9IpAOIO7k0wmRaCaqQJky5s7P4Y0CErJmeS2QZmErsW/VOr+Kq/jPiER9M7pQmNMne8C8h94pEtmvPtnGL1FN1mAX+Em0y9BMCkmZAPRtKHmFrRhpN+vzjgPcnnp8omZ9niYPhokjcwTv28CxWFCy1NuyeCgG9O9a5s6SkuMzsoDVYKFfrFk1+u22B8LXa/J36n2F+q+VKSHLy6y/tzsecvFRpljdljbZ9jOYDXtLlO/+9mZ3wlVY2xrWdeJpgEuqULEDyxnGErGb/A/TPx6woNEtwmtBxM6m1Uwf7kN9rmnCCLE8dq89j0OM0oBOZPtVMHuO7jQXyUWMmo/S2iPLMp0sbZ6lgqCsjF6XkCQyokHaoaTsU1YR1f30z5s5h3rLq082bsHguwXRZRe4v6jYq4ZSPJnHBClbScVuIi/aPOR4G9THd34OaYC2DCHRdNBML9Vj7KKT/KiLH9NvuWxW1u10Aq6h7KQHveuiUo+o0SOWqJz9ELcxlCQIb/dgxgeRXKKccX40vytO2Vc1JRyL86Y+hpsI3jp5//hgzpsl951lOZ/bH5ADptxwBwimCn9oEcfeH/kqWcs+JBfTfZb8uhWdgQ9uPEo8bGSKazgO2+kCNB6jwsrLcBHYRPgalB2cU0mHunCMbBricB8PiOyptRpE5FnatsDfGg/dYwTDVrK+rRLu5Iv+oSdGdgmVvXZ7pHu8QcXW/UcHc1RENTh8wAn/MRF19POghtDKW/vaiCCnjYL3PlUsUj4NOoPrzlomPlNn210HXr+KTMBRWoPgQ5GjJpoDN7985iglZfZChHVmdUCbXYzJmW3qiZvFl+KPdelsSH0LTMIL/uHVlyxI0gHMlDqX1OIxp6bRy/NFwfkKYAEckUBLg9oPXXmwl7vLtCbWtRm+hWcoNWVHK2BAArj2+J3D6TbaKs3tW1fudZNpjO3JRSUAncu0PNFqK3HMQDPV9OmPsp4nhE6XDyOp6YGIB272ASxDiz5U7frlIXzW540gc3fblqYp5RrMuhCUyvU5TXMlXtWJiQWHG1OA0bK1vjkgfOA4aDnkiUb0fJHrFU7mF0Q19tBQMYASefJ3ciU4LviiZo1mEXm38nCROlW5PMmIVICz2HXGpKwoseeQST55JPGMv9XPQfkesU54CsJsw+tCCZoRfVA48Xg6SrULlwixLGQau53yaw/+SIx7ovNNnLZxMSCrpyCi/xRgSVP/sCwlmnQBTHJI89Lx+Xf3L8gn+5811mZQ5sJs8yZeZbI1dXnGdzl/gwwa1KIgWgINCjFMcG0Jh1WZfiICsMkYag3fp1iqzDkGe/bpn/9A5CVqTmNg8YzeuqrytaxDw4zhqoujNcDB5tBKOG8ZUCnA1RrGJRqDQpLL5rCCHkSx6ILs1xvsJUDD5QvztGXwb3lvPjfA9RMz/JSs9WzWxpr0RXWoFrZ+HSzdqYm5q6Z3trsVrvZ+tVrtvcjeXzc8bKL+f4I1sp+FiPZrD7UvzRPwSevOzsXHpTmusYmXTCZd330vIxTtxrEzK306fPkGzBfeDL7CvWSKVogpYS0y0fhG+7UpjvGEe2H/CXMlelFqkB+09fYHncxHkJCMpeUrtol7G06QrgxVdAxi3izW3+S+O4kaVKCuPN2B7+u9Ol5A3XuhH442ZT6VrD3WKLXx5EXGubYWP7kiaAYEyGyN6QCR/fuuFTJHvcrQHhBAkrL5espm+lAY82irseFAnTaBGhkMCgASm/wMwVaHOijQRjlbYk1dIK36+i0/zlfYV5pwkOBUu/+EvfRyHpl+U29thv0SFNTgofZk6EiMnHpfD78tIgFU8VufAb3cq9w3avLuBdFXkqin3CXzXLXCmbBprY/oBYehC21UkgFb82T4oawXXgNOP130MZ8tXuWvo8SZfG2bQ+zQcn9SUHfAXV2rybx2r1awMzBDyRylfFWoK5TDdKvzA9ntTYxUUP/r5MLhMrcPzT05Ghn2a9/vMbcmdqhjeVB8OzwtmlmrFXqimEFt+qvc9tFFGE5+IfgHpRmRVutLO+86p+gFTIEWG4ar5lnAZYZEC7D/yDYj2BtYM8L6mkmLP7/v12xko/De5MLegCFXH0xvcLvjFctzKmrFgcY8lFuDq+WJjh4z11TpS3elAv7sihS8QIUnISUPyKhkqke3yxA8BoxrxSX2KTHWmf3sRDSDEGeDoe8hLKYZLkz6JwKUUuflhHScUhWzfcY87CoJPi/P0Ufeuk9YSEqkCesXR5r/PG0JKLhpZb7pNydS9XFJnokm7DJvKvxUqiWltEeqDmEtosXZ9zZbcLluZKum6i3EBs6WWg5gs4FJJqIchwb6Hnwn6zjC0sp84UnPvFl2sxP3aWUTpewZhkv4s+9QI/l3Xuj3vC63Hc6wPjfzTgCEAZOf/w+uY1bw4CQVHDYzR/JZKPY/LNzrmP+PnDJXAIFup1xMTUbqbTNGFvhZfiIYGN0InbVb/fQ0il7LCMziJ/3KsL1zmbs+SCZhBXw5kIbbSLujSuHpGovnuIgaFM2l4nASYc0f/uHmo9135MCGRm3fIlFnm15PCfjPeYMV8tdnw5cjIqbLrQj3E6Gl5Ww122vj1bHjh59M2oRCL6hMqAIFMx6TW7er6SFz5fsbn57ipj6TY5WPGeRCb348EtY2kqeXLeD43N0r8os7sS00NxenGNdbSDwy4SrGqdKp6g6wst6MhaB25vrfJdvkiKSB1fUwkKb6hBl2JDU322Pi63V1g/8aJNw6Bu2w+E6YNWkgjS24qbN2oHRd2ld0KVyYLuknRW/+uUjf10gR2nvMRR47c0WCQ+EPj+Ljtl+Fbw8LyJ+GZqFzPQPj1HaERoTskcEgs2ox2+YE/svgUjv6+ij83EFSuWeVhfWKxuz2iA159/SQ7eEVOYxwltm9iuvJ5ERX9IgE5q1+nNi02IBigxBRrbSl8oE5iC5m711HiUVfYl3spu5BEE7wlRydXB5CmNRU9+Qd49HAWMqkPNdxnr6ZhGW6rUbqn0PqTHC8UbGOvyasGXoVWSottDGHsUrVUji2AzUv0pe/Nkq6nRE9M05v51CuhqcgFpvLFMX7Vu7uYbRhdBIOq4joM4ag5nnmPUJvvQVk0mZdnhB/nGsZZnCkURKasLvvUZSutj+8xCd+PxrFAbxtFxjmGVrmndSTVtL+Vb6Np8qsWrCte0M+7FQ5JuQo8wRGikMaAqqktbw+s/3HxncVqrDInZMJRYzXyoPJf6+d92b0PLrujboaCH3oxstAvJYlJgMyiQXPXuVaJ33tCdMZoip+pSt7uSHOajVV2R7PSmXdWhJwifhLSZ3ecGGrLyfHpyuEEhk/6upuFnETKLkXmaWDP7E3udf2zJZhOOpPbXETj1CGmFaNReUPB0encTaoPws1DRYTf9CCtWnjKImWAPFNSfWsajKaqkelrOFUV/8C0M+ZIvAhHYVGL3EqqjnCj1TLGpkws32jfhT7OHGXN6OWe34UaY2D92UsNcwfEEl7ppjLKocUbEMHP5rAf04fx8BAMF76AgmjFuKIPwco/g8fuODxSwd1SV/L6I+2uWGux2U+9s827RVCNfgqMw/XmLtxy1Usd45vAqtdgwpy8PB97sezy7lAUmGcJEu3ZfxR8dohLsEknOwnQWJJE//u2U1HB/0mKAx8WGqldoAubQSBwc2gN4+GrL/60QraQ21zrkU0QPQVR50Pkl37ES8U4VVangi2mkn/tnZZ27fwuxQ1Inw9Xr27MrAOwJ/bcHsUkE7Q/1NaVDp7NBFTmzKqo83Mr5H5BY44FG9yJi2BhlFZcvxVT2gtyK0ZqB3e/9ipHpj4F3cD2+0CM0NzSfuMMcLcnphyh6ldaVr6Q2yhXP2dpxj/j1IRTnkOWzH3dj/pTDeehlqw3uXdpWC7KD75FxakTJ1yWxJJ6wSVQtvsVAtF6Cgw+6wqQ5md4ZTmf+fSKf5EoQO68Fka3IdiFP/1NwGYsNbucI9GUB0qJaN4ug/JWBWLHPhaS4yNwqPPaoZfoJMxCPNlHgcPcMaaqkhgZ3jXfRO3wNbv6Ng7X135PLkGszGmCpEtTGRPprljRaH7a0cdxLlZxOOUpU7lwF1XKHusdcUmHztqp5Ba/bz51ghzPaEmfc/6vjCnbushxhAHmP6xxFr66iwj5c0WbW4FGlbqgTGXla1F+UI+NmJtqN4sIcsoyCc0I3/j+9ZHqKYUxkfRzar4gLONEFl76s56F9PDdTy92mLVbXdylnotfMZOKObyAm+WkIKm0EuVO5nrFh2LVlf4pu/J93YzWwkIr2Mxliu/GbgC8goRfNM8B9uAdBwoLIO0+5lkYD2BitqKx7/3Id6Htlx90zfsvSCTSzRek/EIqWWoH48Z3WYYnCdOOil7yaNuQlCvKuAUBWbov5bMSftug7OTGuZ0ypL6iCdPugGdd/dLX9dNG2RaPXMT4Hck+LAzMywqjzyBYD7P7pvlO7vfFl/qok2yRrvNQCcBxpwnp9OrdjeaYbb4rJmz8CaLOv8z37dKsMY4qViS++3DR2Tiy6lMCTnHpZ+fIMHxPDWUjEtoCyAkSrmA8bZ5t+sp8DmcCIV7EZjWGrtBXKbYFhUUJtIU1qcx7P6S+NpsVGkb3U5+ZESLlcuobqLfBSL/fxXkYh3AhT98DrltrNXUm5f+Zm93Zxy0FEQuNP/2GLLOOZDDTZHkPI/KHPQllx0y08WaNVS5ij/MyxmnK/LGXJyyFoOQMHixOp2GJogBr41aoaGPd1DxBbsroMAFlVCORN5rbeN2uks0Re1SRq1OjQ4vt1nT7X4EfxcsGh0IFCw1sFMLTbczwB1Y6wE4qyAnmP8NR4f0k+f4x0kLL/+MXG8UR8KDQJ940vMzezEbp3QQQXiBbQ0cu+dz3bmwnP4AlBUozUQSViNWsSpyLNrieS6q4/ijt/yM8zxGiqIzaLqXSKzt7M/P6gNBKdkRG9gk4fXwozXeog5DaRLtytLxnul8Ueb1qLHUZ0E5bAMMEj+gFdNzbXUwT7eXJP4hPRncAxHBjUyuJiD4w3oR2YJqHqo5MQhQ7gc8pNZy2pAXsXcltfpP8yoyAZc7hfan97KJsmH7fCXkp8oERaU2vrzzo8vWcJ2OVd4iDxsYuYz/Kd8H2ywmjT3ZFgI6ImfEeXoZ1LaZTZJ9Wh8jDY/sb5BCRUr8bS5kGIxUIQWBcoS3WK/1GzKbqb8VOX/wXq7cmn4J/EXa2C1O2ltv9KSp04YIlxYbib1apcz95THN98wq+/NAkXfR/Zn/Qk4vjIsdKBpsf7gC3W68/n10sxyzmqukwaLmZHykwkVahHR792EVLN0ZZ8tGpyJISQhUZxqTyMOzTtCLrkae9gKrtJOjGja2gmkp7JgxkrVUPNvwwT8G+ozKpRi4DA7s5Cy5fCFR/bnpt9zTdYHOFWxsS1o3KgS/njYjgRsg9Q/nHMCB0ZbtQFAesZRcp1ZFtSvubfAVg2lb935hEzPYgNxE1p6pGB1/I8i+k4YZ5yp24fcpSUu/cWpzr39pMJdioBFCEtHDEEaEE5QE9rp1IVFWavTSyJkQ6HROFcOialzfgh6R045SxNT2eX9W1y6GQ9HeDsz3AZqX/C59Ir/xzWjYWy1pq/vSNAaQ84eW5epcVFtznKZsu/UNE/9K/qC4M7Pd33jB5NbKO6i8JoJMj/3zX/WDDYTsM3AnLfrUKp3fSdWwLDDXnmSqpBT2BwwdUfwSVI2E9xQpoWpEpKkIs8M6tDv20rZ0ypkNofwWLVHGkT7eAVIVq6h1u4ER/3BnrRgTGU/F3BZaylJIN7fLRI3TL14tBg5HLhwWtH/gTZiYwdDGMXbMcslKBx61T+ZKTvpDMHjfv5Xqmn4Rnf+0yggiMhJhYeEZgvjiHLuufn1U68Pq8aDQWj5nnES7lr77PCZy50GF8zDBqW1hxwHuYcYPY/WlwVPdIhS6IiezsG0p9ZVYaH0gfpgJIanQMCXfVzbxP8GZqTBRnMvqHuNcNLC3ufF0QI8kiYwxRfapFBuA6XzaJITujzYidr4vZxVBZMpxRVbefjJGOuDkXM+RFb9k2i6Y8t51zcrqzUmO2wUiY4t4ZSmN2nKBgy6itUg64tBUEkzi9n/WtFSxBPKA3uLUZYp9PKu1YHAKr9VlJAbCHWPueSwrl6c6jYy9KsLpb6LobzWbyooqSJa1z27SUptSCFlhQA36g3Eym8y1jBEkooglgX+A3A7VhLSLJ+laNXUbdS5OkXpkqYzXcrqVjDIHJQvJeEObXqkqNY6C2IGq6APfUDihik/yjndkJIKOwNhEvA7hUlLkT4YphFEFseBQ1EqGbZKvTKggXkpwWtFUjmHnjpVTVy/7Vyn6rMFmAY/O3hQbw4bL9HzPYmXQuIUXzeenm7L6SA1Ia4bV3cTt6JGevVDb+oRxV+adLVpEhGD0FW82HpmR3tDTeuuTiiicagpnHAAtZUg1YU7bRTJbCjvGyAPb8xQMd9bvoZqdqZOasYwhLV8kL5TBekQiJ1TLrFAFw4QznICkW8nRpd4YZiPK3JXfdZr+QTIzeL4yqrrWbuQrErdwBaulrbhpgHRxcGXfd8Az97jGJMxUSD3YvvIANpHwPXw1NSggH+9zqjzUz9KRZnH2LU2cXCHpv/f+yLHqNWDf8UeyNu8mnK8PX7j1rOXQlu+RrUzzyeknaoLAwkVJZ3oHxiBmVj1ODu3heUejtAOTT4+6Vt/u7nOrRQHcpcrhXECYZBloXYFODO20QGLgPQIGTgb3qp2E9wk/LCosT0Uj2AsXIKa+LIiUGfMO3Ujp3ffrWZY2zBv6Hl0TCu3rJ1L64yqki2PbHzw3c4adT5vZg+X9QQk6FPKemgJxlpkENVdfwDoL5ksMv9zIkOfYSR6UnHhtbYlYxeCTgJ33lEthSLLQcjXvHDP4ngDyKl8VEzWov8fzFs+cNM3ZhVySQAuWTTcU5oYmH1NS+ysgeUTx3xgXDF50/TMGCtacfMb7G9JKJbGXUzEHwPD1bznj9UHk7F3Z0RX7DubEpqSZAPCZTkDW2dlHrVEKB+X4Ze+6yhSC0J8qSFlAFCCHgKBCeOeRhGcZadbbbTP1ra6kogBXQG+W6yfWhQiKzcz3FxWkzPuGpRSX6fY0u/KjDzWKwx2hjDelgQ5TVpcNtqZK9iJ0kj9xRih0nXXcf2yDUIzLnorNldYY976vwT+xd0kr/NGPlKRJgcBVFwmY3OjGUs6u2Zi54c9DEJ1hmOr3A6n4IUZo0n1DZw6RKpoj7zTEdJWRKBHU+ODgaK23ubK6+IaLWdPdiGj6ClaK1sZB2p+dnbglqVH/4pLJOf7wjT94cyUzWde1hrA0v+bhjBQ+yH5UZrPdC9tONwxbpYfYxThWGuq8BZCzANRTCS803/JmAZtLBjVp/ATYNeRnSSEFkElkPF1QNexLBgeFDLDPJmE1kOfCHDYoU64RZmcmmNY3IF3Q53rISzqQgSamSLWWoYYUQpDRaD1eYe1/kiQmLtKHpwZRs8FOmswiS9q91Z/1yxl44utGEixcI0IM80tUaaysVHFb4SbJFCvd3/ajE+K8/OXVvtUb1EtylDDWi0ZxIQVutbcjRnypGcxSmrXa00+GZvEj9wsiZgsEvpkVfif5IOmVRehSICXx8m4ycehRiZdxNB6B6nKj3z3jKz/2vOTCnHuX+98/i/FLK6C2Y3/RSzlpZwvSdv/dgIUOU5v5JqlVXuA03fImauFeudY38L4FGwAGNjxYt/cTCQNOQw1B/04Q1kuPw3XqtmOh1EEfJI2d1VxPFSjBe/+0iEar21wkUB9WVKjkBTBe0bf5Ab/fpw0hSxTVnECl5NrQ0QdjmAYkQ3fSgSSGdwEnajwaD8W25wqovET/pivC0ym/nwm1yLMoTRGuOvV25rEBnpfLuYipPQpM8A6fNyAecXLAhYxk3VcSUoMlCIV23dvU7DRQWf+VmsC887ugWWmP+Ia78k88eLnUsylClKNbvPQ7Byg2aGRuFSeIMBkByueBIwX2BAcnrgdNSZBkb7DxUdLNtdoRYlNg1d2BjU1TMlRr05tCwLVbQIm9jOsNNqgxkGcEO1SKTPCncOg3gmpQxqsDsXcoKJI1a+SG5m0RnH8LkKgFWqM5OHn93LcxD2aMJj3OLftW+DuwbL8yBNEshZxKfOuiHwZSlyFoYq6hqIWlDoHe3wAQaYQP+Wo/kTjmZNf7xoEjCNmbIj+1h4DwZWI/RVWxIkwEaPgyFd0eVQFZSe5qJde46sLCZ3sfWldPVhwwnivd/L4cAiAIMln67UsIibn0BGw8NJOYpANzjOYtB2EsXpGwhyM+GwLtzkRuM/yTuPakW4XdYDp8rrsBlC8WfQ6Fi6UCf12Nee4X2mL889rkpOYhrd6J8Y9fao4GAGfrZeYSRdRtUGqrqTsWKcSSPuks57WqN3neWK79mM1zQFmUWKIflvqBYRJ3pqGHSMtCuoifvf+ICV5SptGltI6tRlq4BE5mVFyHDvuvn1XRGM28luF/7Y7ioAAZiSi+JYg5MYNtfXeqR7aWpN8lLk57KkLKeoINOBBQkVyqg9FgrXFFy7Y3NmALmQBtHv/j4g4NraYUZbGvNmjF2AuT6YvPAI9FTmMd24g1yTvL6v8JqT1ykbsusFOZLGZDB9vMcddSvrUaIWNKhOFQjkKSvdpQ2FuSy60QrCzHrYi62XBYhD9lJPm0hNNUihM8pjutS/KjvjRpJeYbWl4fDcKqUgvlYaY9uCzGMs5Atu5/JEjNia26Tmtl04U0pv8CSdWjeysKEqZfFJp7XxFJ5vyvFYIBz3vFgofDNMWyw1jZgzXUJN5VVtNA+Mv5BRwb13DrEYBOOs7iDb0CKVsrHkRbrhNBmVJzrAiiiIQ0Djj3DYg00An7y1EYX6xCGLKpD7FDOFf2yO6ZETPcexVtdtIVOwyL5DKTCY46RkpYDyGxsIslfSjhwMyGdXOoQu//ANE96tlpOmXK7YLuCk01YHjOwzhyi7QPh8Uk4YUqC+dpnHhyc9n0Firkn0eOOMqrRaIQoQz0NhbBNegl2mmTQ8i8a5H3Le3xpD5Hj/fNxZQgmfMNughaNeZq81s2+MIwvMufCCVci08DKeybCqGqz+r04kwqgMDcEvNOdr9EY+zTq3Ke3V8swmga+wZ07FkQOSa/rtEbqTI5vGAzSXnJNOkLOqEahtFqjECc8kKtt44mbsYqpZCA3Iht877ZgbACYFdfXmar7N/Tebdbofg0s0VE1r797w1V24vxcBP6XoD8hhacRv0VgU6FNY7ALZjggYCnRCJbz6aKcTN3L+IAj8JD5/MonL2R1+QZdWTIaL64EaZ60xJurh93LZgdAC3IooML9C3K7LQitozJUoN/HncR++SkZcaBKKARrGWRhO8pazJay8JLunfOJg9QqWcWZkcPc6FkUztGzAYtu5hvNOYI7+iMeSSnqmmBE7YjP+0v/Hv6LNIj6PQHjMW5sQvtaAGg18YgPjTNXVIrxIT0aoDRAuBHCVS4jKXJnUR3g6K0Mm0ae1ZWWBptIfkjCpi5u8+V3188BBJvQTrjTa68cVaJHWbT1K0X/ZU3p6D59v8sfJRRRVu2TmTwdrvaGZUBRfADuJDjOHgbkbV6mCgg3Oy0SyG6kMVJAjSh77qnh6LanzQJx5lKoFegWxofVUIVjRhmRLiPrPW1kllOWYGlEGeM2tnuxeW2fByFhRcPsBcaCqPUC+fSmeSuipLVXmLDmXuirlQaSx34rE5Zo/p8dUcWV1R8thtvD7E96OzsdQiEA1rSoNXYwRGYqWqm1a+qYoFF0pOqwIDwzTeLu6KqEOyGdeHwOAtlxlQ6dx5md/SFNRRmQYDuAtQNj9QMksiLACD0chZ+p5KtUDcMrJIgbwDdGuMfSIp0Kt80auGaP2hB1E+acS2NQMOSVKXkvasu6l3z0PqZcW/W8u0fJidDXrP/HC68zovnEGMMDO25Xk5vSPlbe1mDmHF+UhdXqMqiuWvjeEGDLBDqNFN+OWBhTIlR7f2zT8MEWavVUi0WrW9kVAih0wBYW4e+HcJ9QeY7fccfTqrS/Fp7uJhlftAjAiiEfqKHDd4FiPQ522H35HqnZkC2ZXf+aGNiKr1rwbMtwIaCcVf1CfAKO9kSheb8o1K4zaKP2BVAY3VHVsnDBEDVrAY9jqVnmtEbpskLpE1EigFRfXOTa7H1PLWmXKe6CX/+pCY+Uc2eZB9DPXRz983G00xgx/7Oyk+8zYUCGoTFhbB1GF+ASfRSDg1WJKKEIYuAOF0clJ5ZkjnDV1dPws2p9vE7H2vdsmWVGTuVW+ZQn1Lb2MduBlvNozBOe2eN7mrsK+9BF5zICErfg7AFG+I9qsCMEiGoRkfov5yMYBWYt6KC4CWgaN+egdZ6CvnQFRMSix0RrG6YhH70B5HiCE2FocdsztCGJb6daJu3lkaO9lYs0o16sTVMchx1t/q1b5I+Alv1TqyNpb2GG/1bWZw/jHrkFT5J4oEfv4nqRH2P+1FDKBQruXHRfbTFDsO0w4y/JJhoGtIHkIcyxpguidkewt+b68X6hDBJZ2+acbpOHBHfW8PAtEyuuSF453N4CEFZVJCGjObgulu+LLYVx6dlFkjudluXP6sElYpkIK7v5pnzBspVuDH5CjQj//AjvMlwCm9uPEx5viwHMDjGVjH+vY7EkEUXLme7iw4uTRTF/VNTVlprPGyHPVg6Ga6xaRp3BKFWDlX89/2rpYpAY/PClZURaoCuqX0Phj/ekNLZRp9kucYNa0DEOHLDXeT7cPJe9fhYXHKhbKLUJMA3N1nnTygdL+Fqvp+8ywGGc3Bi+tZ6Ide4hX2Kf6cqbYmCnmW0RyS92wTmT48JYODaGzmRgtecN4u5l02nLqyX2yvqyi7VtIhnbxuMMirGkD3MpiuyMTd6XHq54r5sIkWK7X3efD5OVCxWRUBRedx0WkzwpCAzWx3S17qCIHghI335GOi6MluIUdcE1Bf2Q8ELJgM/Y6VfbTlGoCM8moVXwPB8/eGgxlSLyPYeYFFiNMIy3ympYB/YYf/EehTioY21lXLST//6LfksO3vm6flqUiiCUvzYCpcG2ZSYBJrGSmJQY+GIU2OpgGEqq7VzH284QqhVUNKD223Plyt6wKQfjpf6vd9ZblKzpJiE6v22+mR9ATTJ8IwEqIInHZabv3hkvJ8/vFf9tNxusENOVqvr6QktaRFNbQa648S4aTRIAJk3g9MM1vinkys9CcGhqtFaD2YY6PQVdj4TMUPm5DGX9dwWgSGmEAfiMaDSD45rG0DglFHY+EiNcYoEBTLCkECB1uTUmyepNrPOtzh08NHzLrfauNBiNFpxxE5M/TSSZxEc3PWig+bTCBodlbWeTcclMDhreSw7q4E00NBFzmdZD4PlMlS2NK++877d/Yd8Y8lrcQfTYtnBH8drb6JTtN7BKxdZrdT0dvdLsYRfy2kup6GDFLgRbGWk2Th6ujujY+0nvH7pBNkxefOew/+Sh/yCjd1ybOQ5DyvfwonMuXt2clmkRVN9SmDm4ZZh1iVQ7AqvBU7A1UerZtDuQ8Ol/fNBwi5VGEoziHiLS0QPZqepaB58txjDU70J8zhSu3SQaccEPM3h26J997/E7zkmX/BAYjFbVT23KOZPHet1DpkBNH3fg6nIg8zGJQ5NbPhjPvHHGYkYUo7xIcHAu9yXDLNgw14Rs5iYuC+YW/LMMws4ZZ2rMn/1ial4WJiQ895sr4ufVqjgqsWP0CpoBdn4ipjIEaSQvqMkEqHgYbHDfs6iO46Lphhs3tuMg9j/LGFYCXc825XVmIp+wOniNvr/l/ePPoiBOSMbEhhRCl7lX7GR30AP367o2rWv3XqL3ec0EQ+8J6jGDd/rQyOT9DPrv92tjiT3EgZQyGFtS+6PS2d41lqkwbGZ2N/Ulf5aFCt83C3vGXSjgv11b09DA/CpIAvbj2iA5Aq49K0TsOZKifo4Ry+H9ZZRzlRavQ/L13BYHhzPFAOnkHSfTTa0pFVMEplh4ZqFcUOnmIknVHidNuDZBWk6dNlX9HEsfh+Bpf3ob9GTLlZOfl5BG2KlBhxgfA2u8DFRSXJApqsAaZcvyxMYhudQsVRVbOQgVYp0ACb7ITXSMMY4NBj2+lXAYTqLT8EpsESBOANdoEvzaYjX6wz67zeqQG/6zGLyRNV48px9UIPXp1r3XexMThW6ESIYpZWUZyzjvmoHRts/PpCp2i5+nDsjQHeyfknSiADZ9+haGj6oCe/W3lOfzxafd6CsJkR+NJA/dkDdUT5wJIMOTqEKr3yIB8sbJWAkAxBmge8WUomiszoSeVVsqund/fhGVKNhqFHAUNg9u5p67ezhy1+ZXTdvvsfwgvrgoBWWyx7DCwslpizHtJBpwA3WReqIShj+CrCIr5F1t4gNPqDRHFaRGkbeuHijP5ovVBhR8RG7tQVb45Zq5ukFG+wJI7nG/O5j7tXhqnaAA7KlyRaiLUVWRvTkkrfx4IvquPJzl5F6VLEDBOOFlw7mFwDiGhv1GGeBATxSaval4255oQyuqzgLm/G/R5d3JjMMaMvlTWizVwN1RqJhyY8IGAOrZyLsihgZyCoEE4I73TSRJXTooio3Qg1UBI0u+wwIoc0uNrBlstO4VkfCWRUxWdEvZhVuzvm8h9SSfhchqA1W2/HDFhh3zmw2VQzsJl4wwpSO57vyXpPBNMnl2WULVolAOEHAEoRrONVsURp2zN9tNkJ5EyHJ1o8ysXvxXHgG3gqDaIlJB981icGOY9fKOleHdUPEp0lUyLM1BNlyh8eXShWksCoZQpUPPJnp7p38UUjHXrFuR5tOR36Tg3kHbphJyNMFs7sF7JP2QWkjXAQl7tZ0L8QASxdKViMz3pa4LMXrG/4IQnjRl6TlZJSfNkkwpqFKTBZtBYxYkYjSfVmv8UPJqzxQ+/AF9Yf5saiUu0baR6U9UZDqhEUhAd29FMuK/EizoKpErWA4jwzQbUjx0m02CDP94tZ3yXYoZRqqujSfuYacMniqX4sAuiAcjp3/doByqPIKvsnVhppcS3EbRRtRUHBa4ZYsJUiVVVNR8NRQiImsvvpAUYBi8QaexwWKqrPf3zsKSdnVgBk0AgDh3nGP2sP0LfpDRJulBiFr7X6ikv+DNxq7SU9U2gLEu/Y4iyuiDfknpHF18Qxju5Z3uc2P0OThIL4DALeaEag7TjwsVn6jmbWFBegMKLDeqP9lqSmRlknkggsj3FwHL53eFVH2reBHpD56jUTyjIACRXeQxsGVKJh7D+i8A6NszLiv0RPSzicOMJs5zds6vy0iV8WfvWwKY/wHcSApe650jRhuXJZ8CC4qpTfBIe48Av5gGkqpqVvyOP/JsuxjBwdCYOmOFhml25xHmUe2FCnQu1ZnR0qe2v4Jp/JRoEgxyPP8K93EQU4hRyYusb/c/szAHzn5zkX7tIrf5TDLUcxNsCXMNnI57t2E1BO+JvCujKKgnulGV4PLitYvBXNGWLy3JsTPdGABP16MXbpNpytpAgpVd2LivRs1YQ8VAgHcDoBdC16KGoVretKFlWmYKq0nvKSm3lXo1AzupLbSuYkukBbuECzY4s+KCjYIMinOOdSk9bAjENzqH8G8V71SsrS26Sif8+Z5mKSdbL6JfjlSR4QhySXbjBNScN5lAT6zKYsjx1UxvuBNAJzxVnBc+Lku7H/vzVRlN5Kl3S1Uc6HQDJ++vVKg9shyVtPnsNFpTCW2O7cKX1E42v91bvdo+vncC5JgqjhiY0xEogdssG1sKDTy4WBN+1ZKbbQVYPFcnFw0eYG9tHRdXChnF2BmAeVftStbminl1qiTPqm7v8LZ0gXDDLuzX0MKq8+2XsiFpJ2aSaCO/f3xm4IyuMRVoURRXdcFrD7VCxVm/5mKSLNnjJ4HzCsWHttd5p1EkV2yhg5kxMzrWKmxPVmKc0E0zz/Sh7MEto3HYCsa14Q2UxQR1B62WzCL6vkcnBABvD7KNdbjrMBDY5wGAZt9Ak9d1ocPRStNTeWJNFXFI0dvybIZ1nB/QKHsapp7LJaiTQQIAf0JGhbbbeqoH8quB252c8A+woNQqphtPG8bmPOXOKkhrXauYX3dR7p5tv9wOJCuxPfxNW3dhuK88ZuINMhkjPyZJ7huEuBM6pa5hEl2IXxF5WT24DGlV3q8NDnFvN6HfHGIdSEXoMz3DF+QWIrlFSZiIMvn06WCfTtxuwKowdI756gnkRwjE1JiQ3Sv1Z364jhtEaMJRUBLWstGzVftfsHOuv001SKBKhP71hMy35/AckLp6nMuMlZGV6w9qKOd6ysAjXgn8UQwDRvDO678AuuNPnXSqi9iTjoJw5Lpqt7PMBI5RpQcCnlyYSkhv7/GqgRY2Hf3y/CRZngF+/N4XgJZeaTBABi8zBXFpcGNcdY1nYC5Fi/8zgi1XGCqOkXDNjmBV9bz8okUWc5AFSEnDSAMSaiZNDv7V2Cp6oNMWGeAC8eETQjKJJ/I8cBLD6Xve+kKJn90MM+faz4JA3hGtllQdUcioJv16YUBUQlI8Kjbmiw+ugAZnZMovB1HnmNBD5BPwPksm2ySz+O0NQX53jhH5Ulo9+UaAlpTLYcqpEyVgPDlNAsXCod+9hgJn2i57PK1Gvq6KCgPz0iJJw2Srgw+g77gQsTxxU4tjDriZUuYOLZS02BROobtQ+rQXuxWU8uQqQMVyKIarDqXWHNQq+HhqnfENlaoYNy0c4ORPoZQGEgWUpNdPJtvjE5fPrugoCGOoFury7fB5D5tNddabgr1k0HKkhp/55EiZTJ1VnGDJHqloE7giUm1vgim1bdnqifzNgeGXS19hoJhXI/qnMx8QI4CNZ5eDNByVNymf43MvPVBreXvypHtFS3LjJAhwQhYeIsPS5cqbocuiud16GZOItXgu218SuPWrxhx2v/eEHAktDwrT8zDcyDoGeiGjBjPCCwvSnbf8GeKtNW9Nnw2dehdiKFrLlT9XDUmiW+kVyzmEjEFXfzQpOJe1cBujUnfx3P7mL/XPGtlAVPM/XJEdfOruKyw4jyaYBbpWEnUZgPh+bO8ZVJLhAttes4ylK5UaXv5eKi33RPa77IGKiqa/ag3Z1U8FIC6EGgQXYCGt5dFzybMC0Ko0mSmlarSnaBjidtPewKPM167rKgH0+R1nXOTyOfCJeHs0OWdc73zJS8QWIGwi6j7/LtOqlNUMR1BTR+XkkAqt8lKdQxZJqnVwbM9AJUm3Vj9VOWcEwRtRizTcg2J0mDuwTnXiWk02lhgYCkjjSvkYYUjIGMnZGFEdlDfSwR+yRpDaeLY7kEUTqm+8HR/GYVT47ZmuvFibR4oJGTpjGRzZNT1GSP7MijPqGFuETMxltHgSlmR9QLGh2WdB9sKK6s3P2Zd7aYVysQm2bTjsDifZjkiWEUJrlniD+9euIavQactl84LfpTrrWmu/G0Epm0SRDfP1W+pesccJINbJFoXzEnH0KMRZ/wNT3ouf7AtUUHUsDBNSwqOnsU67vOk7osPv+I1qJrGfdIimYEi1K60ylLPaNQyDp98xTX1oMJHmh6b+rvahtH4+534n4Jjw+zMsVNRBMlvkzd4eKhFaPAEb+SewVL6Y9aqUq/MucAdE7beIoBS9bzG58QUQ2dfq5cLnVy2vU3+EY3uoUTTiKFFte2LsA99vrGtdd0CpVnIZQyPMQSjxLFicQSQESY/5EqQ72/llOzwmkv1NAixV/pSa8lnZ+SbC5RxZyssW93zLlpOhZ0MoG61gA7E3Hap7nSZh8dyunUg7qCZmOgLgzkkkyUgXKzY/ycdfta8QwJDaru0Gt63owczweOsybqgwPWgVD3hM5QKoElcnk4BizuLlz98fwWSBvRLnQcg+6dngwhZPKQrpqsEp0msKX1K9lgzc+IrkVuice1eoo4Ctd80YyJ0LvTTtA/FHh11pdaY5F5AvujI1vUHhZZ78/iyxkGg87BTji9TDH+bOCvPKsf6bdCinlhyjnaNO7zZgy2MZbYpo3Bnqx02g46t4HFptgH4stjSPhR/PPLd6CiHoS6itKf4IG5syk0h6O3kUTwCLmLVpAx3B/LU/z/Cw/PkiCUDoB8S2I7LVjhs/JCKYCBoODoYiK9XcKEyQYtHAPTp+1UpWL+fXJTEpQX+vf0YJ2uNrG6TqP/0XYYnEVNmAV1ho3TgmwfkpTDiGHsu/abyb4PmegkSJ2gAtrEU4qs4m8HvV3finCgJ9NAo07uLbC8+d85l74z3ekBjCSt66NzeW0JoqWQZSf/zjjKFIUwtEOJQvrwPrWGC0jw3iazXaB1rSPsniKFEbR+4mGz4VfpImDSFEvaxR183cuvCrX7J2X3B488EkjkfNk6muU4STEA8R2kgR9eaJzhXUCJxfSVW4Ts0LJWcAtwkoZKQRo8z/Iloduqjt6Ylu4+mV2tLCgHx7Kx1zdkWOF0T8TpcgRGIHJF534Jh/xeTPWoAgtmseWD6RFFN5H/Ic0U1JucsHUBfiimyNb2eyWxuRvRkBm5XGYaZgcHjD/j199NnJmhdTWJNGaqpQgnKe/N0eZTRYbY/LL+rmDuUEMcqo0P+QdTuRE567xymY/bf8iECRjBgCwi3dwYQ/LtW3um7e7Icphb8n1QRc90lgCLgCBWxisXktxlp0Yu+bsRW3PskKKbLnIZbayHOCnuvysePcJBSIDabl4efhrl1ZfYI67ujCOesXjRKtNmSwKWgvCp/D7GrWS0fkk2iNihzcH8OTRC/rA9Z2rTmlDzVh8UxC1bXemjvqnHYO7Y6h2LWLecHPhmMurnl9fzk6r9/NkLXjrbjDrgIIqiumEUvaQfFlv6iF3NfQ/z7VjWduYyl+Md5DAR7+XQUokTONokCZ6w3gVGiXAsNEL0oW3smW88bE9lTauvXwIl+OdOvBGIFg804X+PFc3OOeIc5GnpJUd//XMpO53Efp93PSb7bSmiSHZbmfNK/0mR4mlvb1V9r2Mg5QhuBy0xfB96KOJlgeLbzG4pbJWnftOVG9625preuueSTm2CUrsev79SwGzwAp0KkVu9VDl2kAsKl5dgW9U/wDZpsk66OxWlgW1YpcKJFnC0PrYEJe8JlEbQ7PzZaEQN2rMtlyj6Py7Z9iV6ycRkue7r9JfWJ722cdYZI4amXJnDCgb9d0/ULXt2tovaS+xlYMsh8i1qsmuh86ISnN7SiMXixCkSIIkBdreIBWw2Rv2WNtHw5GAGXNRHq1gJ9GXAf313KaR/+CDXBF6yxYhGD2VgLg3+JwHoxpIzuwZUYhrFZy/Rmo2wuuTa6ulV/nw+vV31fRmzq4JrThClIF3vlpqWgKmK82dYGw2zo/rG3V1VnAJlQaM0+kD5iQDEqd8hHRYT+SOCiRyMw7IyiXJIy486TUM06AXuT4hxWmMxtBnkyoTKR3nnMz52eXOtOXwkBRKzh8JwUOZET70jKBJp6OqOh2+qi7oXae3T57daY4VS0+Tf3Y6y32QmaxQXsYONzEMRmWCXgfg/LgW4VFV0CQ9oY6N6H7Wy32GqRNkl9v41azqj8EoyzxMxc8i4y0A1z1KIrGzF8j2kH7FObUBQk8bxIKOvwBzRRY2cdGaIZWckdgqwkhhGXnsHlOzxfoHe+vGqgHrcC9cE2aZyVeIHtE3Q358ON7yj3G2mzyF0wGU5lN0EdMLTeycJVfnJZsngsyFmKAFGSCFAPFteDZLvFNpqkUKGhM8uatL20n881hsI+rnnrhoSINieiRqBGdr7ReXe9Nws9vQswGeWns7+uiJUfpACNy0vaAgbs/IQFU3dFeBaceppql+bmEyKZj2Ewb1FAwLWA0/CFJ9/oQ8xH6K8wGinfWSI2fBKx0SlVpfbcJhETMjcWlejvXvpJd6RJYQNQS9MaYHY+VCgYhV7AAKRE65wcP8N2mM6c+1Ij4ASsWzEUB0wEvXEcH5BFnUyWvS309v+lEkEM2WJktxS2DA8iw24s2sLMa0BTrVvP6XoMIunMM3KFjrWGJjPi82L/h08gHbnsWGYf+H9t2goDjWAUcuEgNYe0GH7lCs0jUCi2+1B7TRv34BCvhZvWDL6oJpqtGsO8o02KJPuJpD/PhAOxXhKrFcOaWUN+hijudV83iibOsd/S1lemNbFcyh7xva1S+WJJQXJq/lb9YEQt98nN9hmxixHxNoTGaRacMHiS80ls0PJnV/hFgJq8n0AS013If9Ype44spnj2p6F0pT+UjAiDu4wKrmyE1n/87plINPfgbMh2RcH3ZjrZGaTB+oCEWjl/usoAg7/RUb1yFQsahb/HTRs2JghVeHwPdxK8xBkiKTAuL/tTmuC8fgKKoFkTtJHyt6rcjFgAlVyPXAf9lBUZ37NlBy/TaqEQOo9UaYN+HgGFM5JAGQBI0LTiOsuEL+PbwgH7tFVLXsuP51EOHzFh1K36YYS+ihxS77KV/GAT0KaFlz7KKp3MfyllkHR5JuA7KPbuMG5+lOJN+tXT5voz+RDDHcg587UFavlbVSXE6fTZNyNpUbSqBZMe8mvcoxSGAiKHDro/SH805gyJ+ZCX214FjBBRfaomAJOAMQs4h5Nyv+NC49iWcedLPwvGOHWJODBcUp5cpQo6VCeva8P/ovc31B5KklpQuXdmy+34aQAlSc1Qls4V6rvpGNKnmMsYTqI34iWb0nV9gRF075ziSKDO3fj+Ok0/vMZTgpVLDkqnGAtmVyWSbN58GY16Ij03YVPH+Ja2zkZ/IXTQqWQ6XUWYpWczEaC5J82ZRPw3vi+YG2mMV35tSUFUR+VxNkmzrcAzZYh9tZb33ewgcGC6ZMLg7chaf19DVqEOwLh9fgIFSn1SX987H8q+p+yY2T9kakfna0ekX4itQoJE3pgT6FGfyhU5/+vgvl4zgr4GL1cXy7ZoaV78F/kL0CAjhtZNNDcAuOKsIC+HVQQXE1AMh1zWHmlKpLsC/xaPSxDbd0/iCtRAkL0fBQfU5OLgmzHP7+zIvUtOnbCiWODD36S7yBdR54f7P8DtW1annnbc1q15nM3d885pBT6HTOpdQPMROBZuY/JZFQvuB/DdDCk2jKMlr503D61qZsGZ1rIEQfXB8BOFiI/Wygu6PRu73bgsqx+75WgdDBCKvqWQsG4ozN0XHFZbcwPZDKIsQyZ9ehIeYpGaY/fct+4eiBSI0s5dnt+bg0mjtN8o+v8kHFN9w1qK45RxrmqcuXyUsr44LKdsGlltFbJSVOl9fLjfzD9lAppsrqrp+w4Hqr2n/21Mv8yKCf6MrvHIMGgLofqu2wvNuoVIe7b6Yu0+Ubn5FqKIVd24ijhhEvDSvmzXZhA5SpZlDfou082JbwKwDNjHYsbc+iWCtUV4zUIO6fom/MCjOnwoX5nYLoXbreB/6QaGy9EVoC2ii+v4n9UvUjZ2xZvMIAO6vKdOXkb05Jl/GvgSVmD/iIXBaMuXUzb4Q5RJgtKW+GuW1hX++J+njffMXQaBjTJm1I9T+ktH/6V4S5nVfD+rWUvNVMf1wXbmg912AE9oegFpi9VMBzAmMam4VSXqFrwBql3u+a2M0UzBF7pFCzHkC23UMyHCl5yPwxiJlUUYVbKYP+LjTvhJh6ddlkcEh1R991hjs9kOKe0Jl7QAgHXVMFTfn6WGsYfscTa9CYLVg1VmZpod9gmtjk+YUrUxEXappKfdqJM9RuzXB8U3trUZ5JtxW3bhK1/Xp0aW5Rnnz0NbtHXlUGqxX/s4gtrtPaJCq/HUELNRicxIfQbShDwuw+txgRZMjW1wedaW0inY6sgsxmpgripGL2ERPvQwP8Irooqdw8VF9/alGEGKFgFHvCDFPBOo1SKQauMzhq1yPl4jQhe707vapVaff841HrPUweVM05ZxvD5rJrFRcEuC+ZHAns7XUeC9Lymfky/Ddb1xLIkTyRHBhpC3hLY0SPCb8CFH1lylyEJNUelEqGAZ/6Kcg0H4koJNsJFB4djwYjqRwgJLKoCFI8IzLOHnMlSQBYF8rwtKyuS5V+O0OBICYzsvFX+Q/xjW5qO275lSAac7aP6z1XC72gpPM5xD/vYT6gbzqNcqnVDFLtxUMOS8O+eIA2T/HVWd17XU/4DVwW9n11+tTa5vBS12D+xB8xWWoWnP9uOYDx7bJWb+Ye+p0hOuPUNopQzoMl2PtsSh1xYJCIsfOHwDQ4b/uE5IwkOuGngwopuJ23jLG1+A3n/FYScU5v7a+Pe1FWpJzzzO51FgVrNgCmPhQdBMALFettP4/hTh5BSKHr83N0zkYTQTNJ6eyNMl93oYwWBUkrHzHmGiv0VC9hvbfzNpFjtHIuYmLcNArGYoCkj7AWAX+FkPAFuvzNHr5UbcfWerbOzoRtbdfy7Yf9jrGAkwH/Gge1qj/6HQ3N29hPtB04r2NcGqq75I4oBD/LIe2++P+Iy6AGBFwpw4R9is3C0HfbQnZlPd+JLjxy8Q299E4gp2kItnVVcwNpyXTSj1rVI4iE5O8aGrJVjOcEALJgKujY7GPGOiVKxl+EsQuF1tJKexDH2KlTMZjVn8/jNQNG3QwiuOstiCYWH4lR7V+FOYAf0AnEwTQcpEcusOr9ZUeESQn6r2pwByceuRsxv5pZYquC+pjKH9LGMdbGLeEldz3IRf7cBxEOK28tjwQQ7lNODrYV5bzjPcI8KotCBYsfrCSvMrGQ6H/EdLaMmy++wLK360mNx0z0ovZbEn/2YQCDNIs7UmCBf+Pn2P1GfA2VqYvRDfoZl3CKajYT58vy7oABDH+BvB4av25gg7+9zbdaWGb6cVJijYi/o9rtVrVaJqnJ+E/fQ42vrzoNFu/LU6H1/xCX+WYClIk3YICoRk8qT7cf1+VtQDMpK6aaUEpGbc3NHA0uQQH9FhfYnoYcIJdlBBRSgqoLJP9SSgfNCLeRyOn7mYT7f67rO4K+sotvbyF5yPPvfbNf0AoI0OcF6vR8MvKxY51v/F6PxyiDXZKmF6gyw6EA0UCZR+qTLla1vZptCL0pPbL9DTr9L2dibQBpmbhZB1AdzmpCk+e1nf+reUS0ulaRx4dMMq+bNKXUQElJaN4/QeXBh7lkOn0TwMj7LlfcjqN17wxiS4sghOOXv8Op9IRonjE2IUCHk0ZI9Wxdbkz6xYWw+1T4wje4hXbJiuvYlen17dBK74qiExc6SCsfCWpKzvV1s1lR+tLZC8DJburR9x695Xvx8qJURXqRhuBVJnEI3Z6AnRsjxi2Uj6MuqtOY6lB1TiLvY0KobIgdkgzL28HdR/QDU85+YzuKbL1UrI3LCWbFPbYlp7TOvpLyiuU9jSuTpQ72Zoiri7a9Cf6IFDmzMv5Z1QeoF+l57IwWvxWh32sce9LFEbVxB2uO4wY/Gd0OvfTFunmjVqHUAmE5dMsn7lok4Y6QJf3uq2Fmmo0GWdR9A49d+wPjdVelwRQw+TeTdK56hf0fazE7sm5oKfvjBDnmxhpDpEe410SNfqHkowb72BxPuNvS49p6BxBkwnV+yj++z0GjvnUOVHoI55HcmRfbI29kuwyyxQx9vTRt2KIoasZdIsqN5pdTPOEVDqWQdZR84eiifLuihZlRNQymOW8sIEddEbigCmDwS58GMn0XVF/DaNyXd7W69gedps/gDLFNh92Gz9Brhsowvb7W7vosEjbSRnx46y1likKjqV4ItjphflgLV3P41gGMVpurx6hvdQBhrMYPa3MutvdPHRr9MvSf9M+EUPICNy8JsasIVrWFZee5ikgLH9So/4UnlGDv0tu+5y5/z/x+1p0tVZLHIjvJlBhQRnRqHk+4haXSpSKbWKDrd4oglJZN6oZtHNY8z9xpV2EL9e4TmeEBD4FqCSVAqJuCZHm2WeitQDTKniA95sFVOQSBqq8PxJ6Xth0OMZx0+Yrhl0u3tzV1K/XCWCYJNi85ytbuR00QCu9S0WKdLzZL9gr0SOgBKgbWGRy1GohRlK6qyyh4ODsvObzoTrqCohE00wEkgoXSRXaVPvmCEWesLuYUuwBgxdIblgKtbBlu7IGC3zIno5/0GioYECzECxyezkXXklITfsOePN3biSmCBDcQ8xLUZiBoic7NlGFgT5UI7JK3p5VevKAzNTys4VMN24VNt2nFC8Pvr7vSBLTKXz9QcKWRH6A3Q1HWvrGuEoF/HVoTY/87YZWZnd573EAbNsfm2ZugywqLAP/8Ub/qOD4fbcw0SUs2/lYFPBlwCQyk9g4+tUMcqkQGSM4eHwXpJXaPuJD8Pqo15/uDz7kvbsuTxLlf03P8rly8do9X2HK1/i7hdcG68uC7SuRcrnXtrnNl120psiwYtIONeTf/fb8E7B9u2ZEDMN+mBDGTUBXZLgNpG3bdnXsXzwnM2OC40LCToGv4oSV79ZVYZvMj33XmCA5q8X+ORbjmuUukmHd17ElNjM6UDNxAAjQQGOmwcfyRctef6NhQKpjTYqO034j2ipWkny8vYsBAklTb3z6utE63xlkuqpeEJqGuOfQE/c5KD+SCKcpZjb1gA8hSYTR9deim0rZYMBTasf/4LhQv1x7n2ZHneOCWZ4hr30BEvrgfzw+HjKPuVzGkMFvRUbVA2SXDr9/4sKc8lYp4xR1IOatKZnKndJpm2/6NuOHQdTaJklfSRtuuh0TRGLnXYl8kQIpwEtQ1GPYu1VxJiMfOAefQ3tKNzLCbSztZcvMz5BRdVT6yvypZkRXwvo9z5CTeHprac7TDLXDALm7jyJKIa4kH+RMRNh7xM0nWrUq2Zpy0RF3mPRwhR3LCBZAP8ngifC+1ruiqTYWp0zlP75safv1mELVxsAyhQ/T1Hg+adE96eOet4kxLL3gURhgEXB513N36hIb4ulGSuRq8d0/18axika7qt6EPCGSPJiTHcBMY18BhymSX4yKLJqYYrq7Ls070Eccx+OZzPBeVjsmJUosj+3+8ai3QOtZZBsJqVYtyHd4GlNK/sOngnEjGzlq5iwMWFlzHNFz5rLn6Q/v9K2+Tn09+F6VQfEprH/sjViHjChCdsXnlp3jKhh21kfRcB3DJJ7+zZXZG7IiZ0jwrORsBlkBu+zRIUtVnXg35fFpZegEU0hC6KBW8xsVcNlcfKtramFyYZhznU5fglXBw48ZZhGhWcWF2U16IVlSPmlTJmyRAITVO5ftj7ZxhiLkO9pYlja2q49WYYMWpdRm+y3kZfxhBkVu5AnVhj6Hp6fUyZ1HwVTZm9RWE+0+0eLRW/00XSVj+HdfLYqcI/I5qRZ2WXfaEg7B9lyeLzJHpfFB2Z+1eUYPRnPSDJXT5GnJAOykvPuBkfi9HtXPPnau836L1IvZ1jj+/SQtXvaA1T2VpvKt9t1uXRfGdxKu1AEu/kIZIJGFX6+C1cJJv3PBvksaYrEJhE1n2PpBx8OVbtOkBn+peMMUEbB04FWwphYl8vLGYfpMnsNIdGHs5I35akFrY9DPtto6+exQu3/wk7GqkvQajDHNgb7kuqRfx4DwuKUpJDfC/JtZ3Jd50IfipmHrLRun/wA8sBpwC0GDqgMNma4/qQtxMWLCEQOeF2DD1hTQekf/BpWEvAEgeSs5uSxqcHxX6R/pSr48IPAK8ytiIYuOAb95XBxldfmEKHVCbwPxPoBow+3lgq0AbsrZKeArh0H6H8xUSFv35Im0ZcEulHZFBRiHlEed8KFVvBh2b9zZ14EzneWaZhUTKMX/utN/JCt7rQcIMiBlQn8hQa9kX0JhlWJq/84tE6K7uFcHtmB8Z7Nih+Cfy3BN1C27h9rMSI1l1j8DM5XB+q7flLSXbc6w6adlnIttAbgrmvKJTCQBNZf2uRoIqkmHhyX4nBerAjxEkBkfKcG3q2s3CAils6LUraed5FxADQJgoQgiVyfWqwLYmiEQyn6vpjqjlVL57ddGM5bk9CXZGs5vboXKHlLsl/0vess0XxQNVTKVmPa07HD3LFx2pyugvl5XIgD4gNjzsIZ9FrmIKuScINsk9uSs9/kkzt5gCxwuqdaIgCn3Y/diALcSqT9qY/HUQ+reemGRYE1F30ha791eErgTtixs3ik7R0tmFbz8fniUECNpKVzVtC8Zo/8fUdTaBSmaO3HGqDq+UuB7XePmAbj0vmB29NyMScrf+V6NLh3ggLBlz0rOmNI8fDraoP2F6LvW5thFND8kdaF/NKlYFnocIXXEE5r4FbMbfl7zdQTRpC7rHr/WWbk1jLGTgVU2DLNYuo2v7QyfTmE3SYlOLUWCSmSLGgZIED8SYwrY7KBmv20y6t9ytUhKpN6HQmW7ucYzT/hEGIt1XLvsRb4NlkEWBQFh2piJGYSKdqrMq1gSmgb/7rPOBklFsvLyRcMgV7rko/kGIxGto/U95RZxf7Hz1oaR3mn+RhrW34c3tUVijQiSB5Mf3y//Xx5qPcVwc7BIU/9WRIoM6AyojJSH6ONIR1iGNrcRelrZJ75GcWlADo98zATgSfIl4gv9tgOueMqzgEr79HU8eNYozPO9RgLUtY1pvum9zzC0KOx0m/C+3mCf8jX55w5rlDuCNEpSEM+uPvrczZaFypZMdIFUwBujkit3z6+fA14BJgcCed1aUjWSmnbxVXev4yIBc1mVACO8olUhwkcoZcsjxsn6ZZ3I6dzpPUkhSUFtky1R0Ze4niij6dOkQyfXYxbq2jvrz4Omp7GtZFxxcOGSbXcVZQqzBAD7Zo0S985bedQ44JFSVdFEkI57A/tw7zZb6v6zvSNqgAA/nrGvbz51M43zGpoI3nuFmIYnrPaEhx1GkN1LNdKjhTrZKZ0u3CHrRcOwEj1ZXg/RRbuFCu4ART0A6gxDD1wFW6sLwmvqIN9i2Ewf/ObjJjOz1zIBuYkzjnqEJ7h9k1Bth4eZWHu+xzwI62Mk50thxbzHHU+YdW2aZc7MvF3SZ7NVziKdsQqh8BIDUfhBDfssd4aKlMpHHMi06jw545/SZGWHHBtrYqZvMtKjqfnO3OH/IYXegowWbH9KhWOg2p3oDIo0Cv/AedG6TXoDXhK+e+D6CKYwCDphpDKUoUQmlRRz2bEIHgqzYX0Me2m8so/XrR7Ga5/yj0KsNSRumU0qrYeU946/oO3mxevNWSu5Bq506z/6ioM4FblcmVQvfsGF026ahbb6wFBqt5hN5N+9HnOgV70UYbBt1P5M1fKmFwZCNJHwf6A1JgWiZqcxyNV+EVyJS/HI34F+c3t0pyUXBLRGRQ+4Abw3ieQDO1/8j0V51rdWVESMxlVULvxlXpyQhwoyX3Vx5VmQUzGy51yWqbruZ27gfg/qj3dYFEWcFcgBMSWfhbTu9GZy+u+vLTvN66qJqHMKstgjVssVG4WIDmyuA8s2WrlCkbiTfy+OUsPc8pUt/MD+pLCx65DkJ5o+FJ+MQi6ddGxwNdqi09cVN1swT50HOjn84Lzf4XtpXBo+F+KfXQlHYZczjamfxPGw0O7hDKyrsu8DrmDm2b1aCdcSVp6lVYUyERwsVWBNE0klbd7qos+FTgf3v1ocb9IdSHoiS1adBOZRIMhlaIMufAtmZ6/y/xtavbdINbG8L4+H3IznNbQTWmIyZntC/tF/bj3VP6kL3H/pLxNYAJbV9sMievjXq0joCusy+NAh+a9CC2w4zbMpLE/PcetegefrVs/NySJDvGHe3ctZVzwEjshRQyDxA3mB9xqyFlLzlPyUY9LHamnaQT91iG6swX6rj4IiuSvcw/aoMnOPUYpoUMMVQeKJzUHyi/kMHFkAZZaRuPjez74ChlHJn4/x7gmuABOmbrGrnd9foS7kJ+/hbnC2cynnD0aEhruGSOBJXg/+i3VVjtOkEpglvz8qlcoKvts+0xiYEq4OLcTgZw7CCGXDEJLBD8XBi+ycnGfWXyfIawbTNAJtBx7e4+mxqNGEKuizJ4z3fIQbVjA0qI+SHz3KT9R+RG+Hmv80x1O1VuBabYMfZNChYzZVUbIsdlZm8ot2cFCviPOvgS18+i7kVCHp/Brz30wvboK310BEdZ9iObj15NSSzewJFxGySdXoTWbUQ9KLgnxEtrvGQ4+10ITib/CGwvWoUjvJCMZDbV6s9ziPvm7+AnzViWFd6lxz0ZOEc711za4OR0MBMNFi5Zifdko+4pmhDrizLf7V3EEgHTBr+UDxZW8Ze5TGimQYQRM6kyzobfXmWWgDbE/7ngMLl4ZLDi0B2QthERbahH33iRAdEw+jpsNSZUf16asWakvuHrOOkxenQNa3+vrcf8DczXiQy8LNjp5VLDMw3Ouwf9VcKD2X7sZMndgSYHgd2r6Y6aCG3bwfXlFrEtkDVc9Qzk7I8TSpByfcMr1vfH3KXww2fdZp/9qAkxB+DsUDKga/JKFchcYz+p+aUZ5HC5j/+GGR3h2ILgtPrNK4pnBW6PPrpM6Y6EeeO/gjYo0o1ADx83otdzBMZn03L9RiiZrrC91ffMS4CT+QU4x9OJm7pVhXAYmoDP4gZ+oOp8zc7BY5IbasfT0rz6e2W8dzsRwbDQHVV9k/v/JA7QNBAk8dXXXTLlgTDhEgy8E29MEr5OGH6xUmP8PvGDiRhqEzBkCw8brDOdz71PjaY6n+ZVGmWi/4DHAoa0+qtLwEagzAtA5u25jCXRC7UebpvDAFJmPa6w5tY/0g8w6CR99dRXEEJQJ7+IMrDIOzb4uM/q3h9S7cnhmqJANp/RBm2IdqPIyxyY+vcsBoyjBF1wBuM9wPc1eGQqOste9LcJktk9qKpq9FWnsDXZ06TDqoh67tU+e0hIGwr/ViQsu9UVEvpZMaa1J+ThzQa9GstaSFjfA3xs04HoWhmMYaewZzWPAiYu/Zi4k4M0ESOZmQCiqWu5WXvZfS5S48S09QUdVyEVSm4VpjArynImo5CvaEHtsMA1x1GNvjhG95/Dv3yD9J1t4rMaJ5JSPppezKChNoG3Fj0k7t9P9e+pyWAdy2xuPHqPSPIiUfTzQBANOP84NqmTgk49+QuB2TtrYEPmVEu9vDAmOtxyQ/G7ADOvYp1O6IJT6FmPjiovqm4NLwf5gqFbUNqAGALNljBm6yFc6D66K65LqSS4bxB0QavDPfj/0LUoB3j94wJMGDb+wdJsaaH8Z4sV0Keq0LHLbw3GqtxtiqRAXw8nNQ4U1i9RaOWBlfg7spj8HA5dDZ7vfpD+eBFAB0PXv/dHwCx0EuwfDfUzVps2IIXk8CMI3dR47XZgRHvpNYBKb8sQI+2xkzVv7u5Np+9BpI80jBeJF5mkkx/+djT7EueVKrb8Vha120Y/RO8TmB3z2lfGQ3eUDMQ/994v830+Mosszuwc16tBPEfom5PuBbfkpsYFJFn8pW7xGlWRsSrlhb83n3cFYDGGfUflbdCg/oN4cSwaXKAMcy2B6//z3Ue96YT1elyZQLxGVwzR/FfmzC+VBboz1XwgUXpVxsyfnuvPwMQCcR3NdbZEqzAhK91v3J+1+/fh/jr6mIkLw034m7XNiPyMDG6TPXBDz51Muo+7WQpMGomwt1O3BhskI5Xa9cRlplxBZduBr1MYO0rzbuE0gVGQZdMoHST+8hwPgN0QDoMwNGVpRCsOOej0PH2xIchAs4mF9gpYbFrUVRqgSNFZgQD+jJrLKybrAdwlc9T0ip2DUwoDbSHj9XYgH+WtewAmuUpP+3rDwPKKv0/jnClWicgmkaijTOXF/qFRN4z2Tpy2gUT4pnGdVAXPgsIgBZw0b4khRaMdr2ZyTx3/sjKdVTfzgQdoGV0KT4AOVV3jRJfCf7Q5H2BcCEqIKp6GvAdRQ+PTnMQ0BHSb7+/XqqBswj+AdqUchmIb4C7cK1jDYwc+Kfs6CqK7YpHoZG+zbOnGqMhwLLg3JlF060euIasde8rEc9lRRsi4OGp2uKovqyNJawiWfXQp8iY7mef63uua7nBuFGLmKx23EJFacxLWuHQGNtIquAd3UrpKBQ2Jnn/PyQalGGsVEEeWXQ8oG8ykQ3WnJKXEYGlBzcZVrZt7RMzQDSJCVcL/KjF2GfXbBjuBjMFhjClrm0LXf+XI6xFRkim8eAWBLqEeMjpnpaIvDnN4xTYYZEowQyqIqq3sDvqWttRgLY4h8aLDVzBMLEAxD0nyBPv7qGBy/ZMuzHzXUmDR96xGfjoIInXAi2slZoHoP8mqaxciJBFTkyfvnchtPaHsAmn2byz7gEpreAA9ryhIVEKfyE90lduE84gdIbXuj0YYR+HZg1FsD5RrVVTqQDv0q38rGjg73J4funt5QkQE1QJXkvG7tMoXW+cmSXZbee8na40Z59a72RcvoIcslMj6+UgXMG58WSe7R9871oEDSyY1XvjAtC7SLedzTziA34JzzJaa1qFpQUaoNg5FUucLXxoBTphbtVQqyDiFcwpAQnYCVWtndVwsNVBGKClErT8zf4X+AO+lVLathikI7aR/ER0AWH65DnKVmmuv0+Ky+Hx/b/tTM7co3H4Xm18zj3uV00Dw+1YszVo9sHA+lA9mBfoFMIzjN6uRpr6vMCYcfXK8nPBzxx8BrZdrpWA83KDEmItAaWZvA9fMuo0Gvx7xUWEu/UVCWHUIOnRbUkowRxGT+GJArRrJInuLAp9OYzsm8knGvwkkNISIjamyChSjymSd5jS7BmGbPG5Ew9WSDLWvXYZEH+gnbhV+sZ7Dkq2ha04REl0O/aqawBqb0TXmwgyd1bz5BO7ya/dej25o0UlZr17F7U+KCB/u4uJ0CSrEuDYdqpFMl/5RZFYKxo6vFfdEJy4QonmbSINYX/Ns+O3AiXuH/q8Me2Lixng5uDlzXfwIirdw0uuG61AS8Gx6MInazttxYI52hK/yFtGnyPccYwEAFWlvE+6CFfCeCcSte9RYPWm0mbNhlSI89YEBgl105gg8vPKFHkXXoUv5UWekDbXlZHVB0ao58b7pj5tzVoRhNmOuJzvxPb2MRgzUuXp0AsCetUqrYjdDdpT3OE+3lImn5BTjyoFi+Bm8OmzrX4aBfCovUvEzphTX4ggwZg5FUTKv4g2tspQDH6S4a5GDQT2oBjZyJ4Uck6TVsSmA/iZ1tHHUv+KVCrJqk4HBQ0YfNmu6l7OPJQhLEbSdFkNCT7vTCii2XBKXHpiFyjUZFt/y0GHO16bHCQixOL5BEke7btxoHf98Irm0pGaepsVardtOkofNmkBJpjkdcU9IYmBTGWs/UJh2vhT5UBr9lYhJumC9qYLUeYAL9uSDhKGlSn5lNNAxSveK166sk7yWrNdAVVk4jm28ml6KEQAuVR2fW0ub3QK3pAqANnXvtv6Mbm/D2gvob9HW+kLzr16T+xCS8MPKVh+J2oX3UN9whjgQPHde8RF89z1mQwm/Cq/zoYmBS0Wimxc97beXa9rvoTBKMoO/CaXyzYpvQJc8SFmkrQoC63rNfDY0ps9vXnnCiEfBfUr4RMv8RMF2fzFfnx/n7LLxIIYl/+EExFBnuUxLlPsu/Uv5viKLztCBzuUYaTeP13NXegcTkERee+aDEGphbir59M3twvGkLIpKZhWMpKM30xbNqlHkZ6pYC4Aq4PFnIvfrvOeIWvPQShdStuz87DxY7g"/>
  <p:tag name="MEKKOXMLTAG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njPEhjUiUXcADKRp21sDU+MnKpFfqvg431dAjfmT6tDp1wm0JEHr9+GCsgAFdCxfNSFmBmE9Pzs7RluZslftOm4g+E15z+FZzywW+cg41+xpxr5O5CwXaM5siEMz8pBgqftkvHfqd08TIFiONxr9BqkjbtA+EzPaw07T/W0FdpGtg18l/MDbJN4bFknhdXhzB8tSNUgD9r4dyEalI3zbWoOp9VPyCmGYxasxMCND7NJ2MxysFYOmRS+WtUxpXQRFut7TM6EDOWl8XkYQu8sJ5FOpcJaHzBjUX8QLVeKURDsce/OOxaaWTd7OjKciKffgjwIzzec4rZ97YzMsi0lL3tWPYOJnSnZiyiFHcD0h/+AouDAvnXd7qr7Ztx5p/fYcbfP+RvRqsdQub+u+kHIbzip0ub6qbu5+QZKFIm2+tT56k1iz1JefbFdenA604IZ9mOBSDQzoAhjAYqZMaEt/tIYoF/gIx9o7eVBUYI7qhDLrw7JPklZNryB3yacGiDNA8Lta6uBzGVfW8Q6NlLSL9fljTD0f8HYRWpeZ5sVx++aRQhH8zYZxcgjiNjRsqYQqdld/6Ke/Ioy3BFdlMYOWVOG2XZ8c0/0CcURrFFaTWbFN/r6kxWotCDFnXIHiEKMd5NJHvUm6JtUKEMySPkbM+8Z7/gHi25mdwRhoadmDCdX4LkIO8mtVeY5TGpG001EjfEmLSg7B7T26FYyXIXfmEwTwhqCLjDC1rOYdOQm2xgAjIoUqv0LHq8qXhI5rEVIZPfTH9lw64Pj1D4veqCoHP+1wePnbXfpkYgsEGZO4V2eZHeCNw4ORM1GgYxoI1Mk+SdbnuDb8+TmO4F6+hR9bk4RvuPfxv/C4So8pBvVLsCKJ/5BAI88jEB1Ty4dGmFE+VsAjqTAbbX4KRzddCrCY9RSqSMaWd+D6SfBludNQWj+6+VfEhoISCbL/IX+vqHS8eR8Arfsr4q9Ql59NIHUb1zbqC1tO/+P5T8RXJ3QGbdhG/ZNUTdIG6NhfZmFK2SgMCb4NiMnP+KFQg7l9wa8NxKFyGQJkKC0J6UZVKRmNAxgAU2eFtorhxJaP/SWLad18rCU/98rWcsfvOUbDhHQs9X4aOwnC1oPOYcYTMgK4t2www5upHgvyXN8ns6qd20wa0WDscI3Eyw+X3Q9Ewk8FGUB9E78ETLOYsAA4gRxz81ONG2Oh5+Cl/TPqBm3NQwuQFOfygkQU/HMWuxYNJGgvqDJv/BSYJAQDsJ4or9yLSoXFfU70mNgUQhr0WMNDz6AwItkZJrhmj/v4ooKKK4odVN0RWmCBLP1sDkkozrgxJSn2ABs1FefNB1wsLnu8ihISKOxCuEfIysR2+20skEeYksr0DIqYjydideR3RMAav78v2hZSOCVZ4l8gmKzg2Y5MbDzBwu0gP5rzBEWIdsEm45FbxOsUBFsjlVcERM6RrNmcXOuptTwf4hYlyyjrhiPuh70K2xqWGLuLinNynqy7WA76HvaAQp5qPgZfgMs9A/sLKF7F87jVt9ToDdEgltdCqGa6VkDm+49I6L55hljtWlmsNG0dRHn61iG8RqHBADuruRIjwMtaLgTT4gu8XeB0Bm9aOAI5TX+g8jJ7ROZ6ewYuCEwOMiTTN/9KmrcpXn+qy7dRuFHaOyBkdS3G7o2fw8WZiN1eXACQBwRyMFP6LGFMjfFH56Dvj7NhhxVTOOvaJpOiJFUG0P5qpJE6s/dYpPPhQspIcxewkLzBRMBXdEeRb9HzMkY+Wodchpc0dy4BvRHwhkeQd+3dXJ5sFwSDxLWPgNSSst0xTpdabcRg4rvG+UcCokacyJ6aGmTFMW8SjsBLLw8aNF+tZOKXPGBvTLJ+mFm6wgFrQX/2SjjUCEpLhvNpc80mZYxAJm+AWKS3CLalFkxbkm4nSRlYaUe4b0kORTePOnYl51QRbm1EmpDlesrmCZWt1pEYpc8crLluwYKr9sUeJQ2nNX+KFndZNEJNU4sv2vd8sliacdqKE+n2H0lmB5U7QMcSsxJBHHU+jUriuMRdc63o7IzTF0XlQWsyDFqW+ky/J+GUHWSbrRHld0JrunmyxsF0Dj6EOAIiciWAtaPMWwwqaknITz2N1aduvOE7a/LfnTxW9bH/bTiulHSH3UFJsueHbkHgFcWVjgZpVxTM4f3u1CWsGURJnWRgVrBnBIMiFsk8TawM7KeO9FAEMI88HNl8PMxjkBkiCO2qgq/bTLu18WDlm8n8pPWWuagUNMUuvYhPCeRAW1UIQBtU38arMha3ECEztttwaY8aDYvYafjsXWO2JvjU/lTHBleL2JrYKztCWp9y8eo8Hz9rZqoVQJQAYuyQu/CS4lpVyQQt6LzF3T3IS48r5mZ28+OvDtzhDoVSI7LPNf2h0Wq3ep6uHkl/euWOduDtqAyxd7HhvZjEuEwSdV5NSxHZtq9pI8W8MtY50wzh2A+jKRKCVMKwVsvso8/MAr3bTbxzNsb+QnKbylqvoaFny0tI2MhM9gxIkaUeVxPcVSsBHaTMpMc7zX71XigCltaP6u4NA9W+YwScao9bMx9W0oKyOemkexUunHVT8pXKH97BfA/9oiN/dM9Kku56GbNoBohrbjqCcII02kmHxRgKLb0UJeA1Najl7OlxlS+B6g4Tzcsg31q/qmNmmNZC1EGv8zVt8tUJK5n0ewK/w0x5jF2akx0TUp4b19aeau8h10O9z91T4lCQiPLiTsSjdK1s+ryaxIDuUWNVLUTseQ1VHYYnazf/RpY2xgL6bOF9Rcid1K6lVwTvQ9LyHTvUCTfGsQDAp3EIlIGDJWNaBtdaRWtXsG5XFuqXfqze7Y+Lu08CpkD/g931JeCRCqjHvv9p0ZyUOoZtyOaVCy6t+bTZBRuN/qCRFlfYXmLw21YpAyFhggy1x/hQ8nEUtcr75lxRBXYbEufShF2RqDNNAk3GIKlLnva82he1odCvGTsWPkCorSnWl6yEMZysx00ucmSvSnGYXhGaKTx1OQsBuZ9iOcFWCo9uOM11Vjwhms/WrBYs09shPfTcmPTww8vvknuZIxnmo4+2xx0B4rXdRffOqLMXGwGngrf5QWGw6NAX8HEztU8O25Sz3Nux1DaYngHKk5zcrSaQfaD2gqg83/MttMfshHz2bnDZSbPzvmAH+V7W/qRULAgRLPpYQVfjRKeyvNCJMoXSkMbrfulCAktAvEB5xaVyXWhbsI55eYvg75vTPSz70pDZgxplcJpyPBxVQk/S8bOhxku/XEefhT4TfvMylkjJcXyNSlaq20ILnvhRPZM3x6splVM+Yxae9YlWVr9nKiZHuSGm9/5Ntm26TKlJOd0dIAAFfl5CF5mcU6fy1cx36ygfV2qVlUxWMWBbKoZ0lSs0COVFNZ8PoXczIm1Dw56TpjLGxN43z+irGCCvieDVugKORfulKvPt/P/g183isEqkTLwxuEz1qmjLOwHcw75xmvenmenUipZFgVe5ppi58QAqGKK53gH6Wr5ErqzWEHe7LDAtd+01sgUbfNnorWh9H0JKAJX0MM7uZq8sF/5etYjTKaVUmmLshySE2guMQjojrC3AFodHRebWefuj6Es2du5gzPiNtfgG//BiDci+DXARyJxt0IC5xfp29xS9g85KynNZ0ZBAE50A7vWi9HdepC17WRDUUitQboPhXt34UqTK6E3/OgVZ7yPjijB2A4etad2r2uZ8H/7ztb3wlWHtjiqChPl5gKxKAtIWRJ/cnID2m01kNfUpJaC85QfX4TlpnXw25OdkBYiO/UCuG4k8QUgbUTT2/0dJXNP9EjHyfyYawpBIAKa4wTYT202wjCOiiDo15vUtdjpYSZCWDu0Wkd9dEFYmnicrQnvqjTfD2th3jeuCBtqRffc6gMe6+9TRDY/4byci7LqYUzSLE1c5cBrHEfrA8KuZ3GQ7j6QSUoCLtdIxS4QPQN85Tj5vFnHmD+X4lRZu8T2HKw3rofl4OBEDL+q+OBj06beaTeAXdmyVi0sCbVpHnZf13ZCA7J1pMyoTCqwN86kVQIYR2fPwfHkW42SKCV5XOsXThcuyvW7GTgWwSxYN0CPEwJMZXi2riMo0aJwmMxkgVHFKwXSXOuyMz7b4Xenb6B6Fx8h/+fUkuslqT7WXCqsmlwPas4yji+aMOs3+grPNfo0ajHPqosRVvP0NswmTq2TGVVL1UJd4ztaB1KD2mCzknZK2QyXuqds5ur7Sk1ycavUjOzBPVIstbfz+nUeRvC32Kn/kM7ZZdFUBYGMEH+uxBk1CjTI7PbRlr9TM6x1+t83SEmgLIo7FqUiVxtYi2mb1yvPGIqKXoxjmhrK2ixwQeIQEKafoOkaqyHK6g8VA/+vnRFS72h4Dup7c+bGy7H36jhugIgUbqIE2K02CwTknLgafc/QcmqDOwAMiWrqZa+FKpD2GTomdCc4bt41ZZep7Q5S46Fr08eLPdzObS18TBUvneQOjInjMB/j2Hxtbi2OAvCDDHTeVzWhsAhbOtJO3Cjl+iGZgT8fXmt58f9bLz2JMxLxz1xZQmKZR0MCFd5QSSOOm5ltkOBkOYjtCRhjozBLLCg0JSN/xMsPKZT8IrplKtqWdR20hI4ermC+uAreV520Q1/tFoXovJiQiMpLU+BfQdPCf4fckHb5eh9cnc3JAc8xJQ+sA4pQeZ2fIwZrQmXe9W650Ew3USEJSLxsYhTq0fDvcUnLos1VctY0cmgYNaYY3X39ngKEKZxw8vfM3AiMxOmtS7DXRzg0Dclc/5SUQaIAuIv81s9r6gNh4jWvEeZbdyiHh/kv/cCcjt0nlC0L/+a6Y0ImZDM6RaCseP9gEgJ52/bf1mf7PmssoWbHeT/T6CfbNW5SNqKgNqxr62NgkFIz3irMlZBaPxCkiV7QKMo41vFPfKqIbslY0VjYwTDYzVjY1a1LXDVmlbJe4GHH7TJPKrRsvg9LBMBCqFg87PNUMjEjAui1XIHSEJXwZtxCKXfR5JJGuBMnVB5eDwJi7Xo3gwyumo7RUIYYlXKR8E2sMJ10DQ4AayO2xJMyMLdHiCQvqI9EJTFGZWcnWs50TvWUGuUUaXwJFUujs+D2GKdMPu8ZMe7oGKH1jelPudtCXedvQ5fxkHY1wr5ncF20zFKyw1wB8S1vrvjQDeTd+7WOsfelMKntuXlx1aeF8F4NEO4J2VX04CUbRJYpvpIdkXA60L79X9KnT6lT5AR3lBKmexwe3/9w2pAuT2l25jQ87U9LStX0/UR/QkAyTJ4N4qByvZtI4FnEYclvHULo8t8VMZ/bU+aPjyzUKFiFO0Chz7cIg1EBBOk6Xfp75whe+iw8VqFTAl7dy1jnYaVr1Wp+1ulMORuZ0SFLN5jwZEbS4t+wGsj0qmvTgeqqnCpPIDhEmRzjAxcFZp/LUoCRZ2wpK+VECuFbvX1/UB//5oYf/xCDFNmSCySSLn6fWFd6EjhebPrhjn7DzHBps/qY7LUFyQw/4x4OiUny+83VIsXoTYypgQKq+JoBE8du8KqYNoYcnbD8UQsjNrB00xqx3QmwM7LpKzwXfR1Ict1D6NxI0wZ/tHqC9IrybRrS2V4hPTdWwUJ4HyKYOryZ9YtR9TeEzYPCs229jfl2vjYcOUBxTb++grKlNC3Lunb5tk3zZltDsz39bay2NdxGHOkrODHUrgTy/Zmrfvkz1naees6jkLjPTob2hcL1UTo5cKpm+a444Ys4zSDOJUaIJb34HFGwrY3g2Pacd9vsKH22AeuxggfgRLZ+47Mxg+nkwHxmxKfsGEYyD9Mu5WF0ePe7zC/LgBkLM9nl+wpz5RX/YMDIV0Dcuc99i9LzzEvTb+8RthLtz+11tPjYp96cH2YBXog4BriJm2rNp/mtC58AuguX8EQPDdUVFGJ2nr/EYhoz97KrgDhuPYR9/IDLltY1Xvv2n42ZZ6QNeBacfeTyPP1LmWzRLe0bP2iUCpXCcSfWTXJYID8Dacu/XSrnfopBU4WKg7Oh22GQzg2hO0cnppPU+OKHniYi3uvUBOrl2oeXflO575gULMuiatcsBF/PriPvNWeiizD4Q4BwSflNwtDkdoI1YidtDe25iy2V9WbIaElStIhvZGd27l5ncd3d2IA3nAOecHBCKJvsNjCpbfV5BJfFU9ueTBhxGw/KWD2yL0Pjo/lcFztKWh06UVVgc02AY8qYmCzgEq5Si7QnsC/kQlNvl+uvIYgmMS3icFBLpWbLR0cP3WktW3Gb/jebRuPSqx4WeuEF97eA3qSfGjl12afKQkgR5+KhDENTLdTm+YuNp7s2+GIjSdfXYRl5FtTRNUBQ5xc7NllUQ9XAr5Nop3/wsDxe2nxWj0wm596BFM877o0QxoySWGD1Jr+FtDaxwN31KT6w93MUeM0VVg0sU5yXIsXePT+OpRhRp+43WBjfJce8ztbkcmZIeAf2g47Vxdg9jrtoHSN2b9kEnxDzLJMWYFy0Q81vHkviREg9JjABrIWLAMJtifcWLITfg6BoSoMr8B3dY2NEhsHKiMGBCLi5NbSZHp8E1C7TZ0fB1ySJIuhc4a3IlxMOQNfCD+au3OStK7Mn5DvEzti+1Wsvm8MLMavRlpr4fraOh9NPYBlrepptXhOkRP5THTlqQZTDdI7mvLRbDT5yPp7W4n3ia7UalSsuWX19Cbo9tvRKiBBLD7WV7/ObBp5xgFf0mdgcMq3g/soR7LVnuzRrk/dN0OuQBvjwFmsQyRN/Nu8VmjHTan8OeK1mpu4YSfOunKPOjjbSB6GtKEXB3CYrk0NYTAwTaxmrFWiriSqRBKwmLt7cX6TSYCfCFVSrUBnz6arXYJitWMtT6ClSu8E2xbhWt3QRvxbrYmuV+UW+ToakUZKzJW0J8qk7BRpmmtimyGodCEMR5LcGqnceAjVm0Q48Fs3IVE1e1jjSofD6N6u/WkzVmj7JIPc+g0C7uOzYExr64ErKmeWX9QBdYrS2el7A0nhamQUYGDkt074dyjQs1q9ifmg37jObijPVtyRlQ2/feAaibhWiW6kVE8DbYZVHtS7oVAUb1Pp2FFgMMQEsUdB+xBmTAf5/DzQZ/3PSp3HPHSVMaKr77aKX8ZqKtFHeiTbs+3SIlqOiav1XL2Q5acm2gg27qLrdtMVxSEkDZIADbXJeubUSg310/d1XJ/+ep5zROEg4ob4eskMEcHUpxg8mQbbk5LRI0u3aJRkkufr7sShpMHe/OShnBSeL4mIaxqUUNLkEK8ZesPIaUnTEnaV+pwA5tYhQxSfcsvznaR/8v/vM6cJYw/6ql0+Rkn2VOrn22XVkm3GLh7jSXhkAlo+SBqg9K0Khh3oC67t2UP7hb1tbyqrr8uxSM76/EpTWgso9kY0h7XSxlf+tQuObFfdDb4AmEiJToVxZSqrMztFyx6CIFBVey2K+WvQMG0SByMQkBYK/LMORc78RaCbVpmrIjQD4MtLbIm3vutlmZhsukZpVXYxacSgFLRcjaeizWqKX9qsNLtlVi6ER2XgRLUpzMJaaZLMlDZV+Ak60Sd5jy7prMe+U3FTcck7ECIst5sO1UJz5e9siHaq912GJNp1HFBmnS/MEBba1279lMjG7jKV7cFG4STDQoBGU6rLwH75q82OnXYBwcQPFwfUAgzfAoiPJJRBVTeZ9dH3USjQm/sRotdQ55liM1u45VxvseJJZsv5BDlQ3ZZHssUJgb1M7t3O4tkfOa1YdLxATutYjNu3N7x/N3+aXxbnriWkuKfprWQhDBjf7dn6KIiek1xnqPtYm9fe2gT9arteKF8MAeIHm3aQcFb8N2sdjXieKO8Z0fRjO6LAZ91FFRkjtN4nKMSKMHLOx4dya5hJX/KTNOyvzuPS8FrnTKp+zDdSYz80CZhP3esjY4vJTuXqeDEOklQh3nZj4OfpKGUyN4vopBd1gjm8kW35F7GM4SjHEe0OYVPJ0iAiQV1XeOqL6YLvjHmt2G1jSMG372G4eG80Xi8i0RKozMnKUkT9dBKTPubJlAGME1bjrXhAEviVDDiNWbAng5u+20JCwvpNjzCEpFP2j3Bd5klYLrU/3V4kkxurjewYtrmITv1WY0u4uJNLRmO6h2RYGlM1Jb7jUL3yWOYmlENvzZzVZFab9tUgf3glY/2LoqdC6XvzFJORnZc/zbRQasCdgsbPAVRNdDlcQncY4JfnanYXSJ4ETjcrsfbs7jkJczXGMyswWYBVNqzQL18J7us9ISLr58+jrR/pZ4vpXn8ZrY7vocOCWD83Wghjc8tNav5vKGf5u3m8y0rKEpgbB0AZs4vARihUAEelqkEoweefE0AL2EXEsJU9lfJAeBmqLuH77io7TflY4QKDED+1ic/e/s32kJBA5/44OP/7yqCa3mwTUTZ4KRq0T4cYddT8G21nX/5zOugSavxkUWkOXosY7ET66Vj0lNvZYivO3YWzvB7+/TYIvEM0TRwQrTGg7sEIn/+ECjMH+iY/SIv6VnnDsjJ/+HQZmAwSrk/ZEGbrrQytK8Mu3jp1/Sot/sikvTgTnzGXZxIrZAw1hB0a63ucjGf+UEVteZACKJ0ueirgxAQl9VtW3OlKXDP8Ry2wOHtlU9aStxq2Fi0v7GlyeGWgSZ5DIYCnBiB+ObZKShYZPM7OrHPlkhA0bsZW2gxleHhjhDNuMYuXPvnbnfC6DAWGh22ql2Q0jk2Yj4UphnetA36b59TCUAszTm9uUXleJ8cmXxZbZD/8FzLgQy1SWg6dZA06ayVBFbZOVa6onBlQkpbzWGsSm2GCggP3bMTbXCDf1FN3lwkQEv2x0h80kKI8t7fEjBVhhBIiISK0Hh8IwMDwqDNLppIbzQGwqZbyP7y5BJQ2shYfBVrAYJlBvPybfkWFgW/Q0hB1HItg/Grld35RWGvAUGEtUC6+1ctuwwdfvepZ/Gk6GuBHpsYKX1pEXbFImy4HxjyhfTFs4z3miuhJR76XThhn8Bn3IRDOxDgPmEghOjzrtLgdgOz1xMVpGpvp2BGuQ65vyj8PHWezIW1ilu5UuTCyC/oOojVGVAzk8YmSUEaMXdnUUxbutqh+Uoh1tdsFbIXk7CCiC+unmsU2HOWG2mq8B99p6N1tsBsmUz2oVUpAwPnWBZt5gL/3mky6gI92fQgPLbZgHbHrr8KmYTN8NzzrL08Ml2YB/7+VaNRAVSKDiQ8+9p3mJKVwihXxHyZnTomp8BUrGwkH090O3UNmIt+jf83dYiTZq1K26+FE4l+6+eSrdk0sxMutJGE4+7hytlPt5H4kREvZV5OaQazhtB3k4vdbqAA0UrHn+LQRMJWBnrrlrm5ipnpew6TW9cGkOG2tYFwgxC0VQAiyOnNO8eGAqkOi7tz1a+Jsk0J2cSePgFcUK4hOoKpGDoGxsoMWUllIVoM8+KVQrcK1PUqV+kwgkHn6sRkCiuLROhP1qIyouAbkzsvt8CD2s6YgsusElD3sVEQjWSt+63tzSGuz0Z4GWZ3PfYjqXn1lQXaEqulYImki6dt9x41KlRibMFKH6Q86lRIpeWjOj1kmEByjO9v4eyp+EfOYJY+KEw05aS/W5CWAaYY2dBXgKYNibHbWOVTIwIjGrhWcFz5g9Uaaoe52YTk0Y2IwDwbfbLaYIJ034xxdh4uYEqCvd90bi82bj9MvryprMYrXe0MHUt6LTVFiaph/brHmXuiNgCiXUe+U3WncDA12bBF+cDCkl3suEZqYBhUqcTY4QYp+no66AkfeuShfqg2hc/0sP/dtWzy7BHHdJx7nvKPUyIapSIZ4Rmv209BSRMRI7mpxAV/HgNThoKvqBG4SuAzSio1REe3zGe01kRlMf+tLoHZv869QJrMUxeYoOjAPiancQ4ym4K8LX8Swr4MKtaEG7mm+IaV0SaRcNNt3pCXEaSU74K5ih//+LqLbqoj126/cJvkQqZutEJCx8V6gghAfkIa+zBS6wlc7O3W6FJbyx+i00ED/VBabyyLHa5UvRMAs+LCD/dVzqfbfqRWshTnpARtljh9lQs+lOaJV/184v4rs7gcCqTEN4xfR1LBG0Bci26UzFeuP58PzeEswaBUpZ5aeEnRrWdtNycdAhIlZTl6aTVyW7qX+/GLb+hybazKRsZZAXH0Pwbbj+b5YuUOAkX+Sf9P6ddPJgK7Jq9FdmvzWv+NkZjh9rW6rmY3aTFKQ0SxrDdL14buQVU1MatvI1MRVWk1Kl3R1NXxhBOYZKDa/dzGJJ3Se5LpwpBJmv98wlMYN4+e6dR3MYVbVUCeXrxkdXE1GslCIuTf2RaTsCYK1mGo2KQRa6cGGvPJVMbT85tHS2w0Q1I9PsChHVi6G1r79kiwlgi3kLi3ZRppmClKhAdQs4Etdzr7FjAtIgXP86w313NLcogQBBPsUTkRgajAYHBa1Wmc5IK6h+vKkXunGwXPDvYCN4s3Ovbkg+gBFmemNvWdZV0gzLEJt67/ZIH6YE0BJvVK9xEMmCuAGmtCrpZjvTVkvMiQQBO/tZZ/72wfbuydQJl8cuJ/1Qf1O5zmX00nIC3I/fCpuxccEoD8qQ/O72YaZZRdnbgdDD1MlooaTsQcXbc7Z+dq/47Yxv03N+26qQBgBPz9pq0nf0uLmPwBwSD9dCIuMdXooyrG5Ux5+eOVq+MGUQ2te7Hb9MsK4Y4fgZ4Mez0mZaVQCkfpqXHYJ3+e0rUQd+kuXHd5oTD7i+A0p5lGbxI4Z+Cc83WuBvoq9ZGg2dHeR/NQhuR6zf1VE18l9EEHiFu1awlFDTP26jxeSVcfHsLF7FSZUmZSvZTcy7X2+kEUIVeI/cLXdbC27PoSZI3mX7hTbOIcOGDQK48PUQdBKRc6/uEzZYxsxIbc1g1+mnZyJFGOR9h9CBI5k2pHT/64vF4iGsH5LkoWg7sAnPEIZlFxFhbPWuK/eqmua+E0EIEhgr/XCVNYE6+6L63nBYvOKxTQzEbtK0z03XnEky62RI7PORddJp+LafAIHX1/+GEj4eb6e+Pyc4geHd79LUrrP1HyhD+Ip7HNxQ0Zg1P3uol6ONGqZI7HDmSNBiAMA755tMS3yGq80oVOzoYvRYQJo0V8q/Mw+NY7qC4Jyb/NLU6ZBKVadyRCP1RBffScMVNeeW+WlMDpCc43rHrNx+OWvXlEudbNhEGRlTh3aJpWVAxs6UR6DbMdNOqMsTWwDgWspqNgFo1dLsLh+9ztdkJ+9yVcoBpJCQrUwvH4M4M2DuQPc3QV30f7kTCNGhQ7FLy92tSEc3PgIvLI80d4drLr8MIjAzdxQQhsBcCQW7V2F6I3HMOUf2azW+2Uv4KtLnVYu3C9jUu1sqJksz/mnxLuYrXQFmUwkiOtTFMnGwFZ47HsLzz1w/8yO7XFGlongco2FwH71tV5JYTJjIKKcwTKuFB6BzU/sovtYcB55PcoTM7JvUSCSmWSVINYh5m8yQx27i1IvO1Czp9f11L8tG7iYntMYJWXYPsG3E3EkIWuCNoTa5sJK5BzNGR6RpDNa9ZIAjsrCcM8BYJP9YPQ3v8CyUF2M3sXf1/EuixQPxZ5vPapPwKRtblyXr8DPqk5PZlUEq4TNTfidsD4fL5ydwsaqCCvLnRkLlo8gdD8ZoJUiuBzCawtKFcQZrq/H0BO7LTGj03XqmC3LrMr4qgzNG/mSlZE5cc+WSELnXloS1BJCxn3/dRVekDheHOj4BkLmKXbwx8pev8RBrWSzkEwFQiJD0+r0XRn/OevaWSqpMP8tbXQAc1jfgnzKbTIaxam37U0l4sizIO8+vJc5Vp1V8s8bDvDz6PaOq3HbTY3Tn3BI97CC7m9IR91H2rFoVRvxNvFj7O7xWbpVSmX57vJzMj667CTmbfc9EDJRuXXmxTerElaojFAmvAvN3NZvlCJYSY8vkczmpyJbhzgijPovXe4NWLq6gkC005QPCNp2GMmNuFZ7gDacN32iClcl8qUssZo2vGo8nEB5h0sOgRFcZ9xVMgPN/UNcGQpxO2h/RsS4+O7NK+WOfM+ZBfsKdPbpImyxNQsPojR4uPoxUZlQPUlZ7a/3r6aV5nHjFjV+7PCHs3RKqaYoZSu6rgbGJqVHVerXoSdVDDRtwtQmCS2em2BUUTYFY9W0vBwAOwE1AQKu5tbJ8lWVjCPsTGZBYw9nL1ETidip+wtCp7SG9Yf0fJsC7L/GpAP9WdBPPAq14zuC/xEGSM1iaLE0BdBKO0SpHPS50ghgyPeKJrBN1cyZAqtO2LnS4BZnaIxXMBpEl2bKjxZfBv+AI4pCEiWDitOIUp5O9SdmJ1/XPq7N9HUcU7XjtESguIkCgGa2TdJ007mcSsKivrHJG9BCsFjglZHlJaixWpEIaAGIvUBYFo9yKQKzmJibP2yVwHASVxqseEu38nv+Jnan/pigjBo+1d2tXFM70WjpSgVKLcr/aKCiRv2o6WWgrm3HqNTrNWlANL/025vEtx352WzSAvvX1INHeF4/V8fWOYurywmRW5KmRWvbpqih+YxyCMqhZvsrQHBpzMvv143wF9dg4NHdnuv5jKkT6T2ufakME35tyDIJsLr/JVnMCuVNlkStZm9Y8QHJj3j6/4OdhxMdMxTSXU0pLL/Y7seMhz/Ammeh2rsGLhmL7NHZO4iHIqN5xTuAUwxyO/c3gjbtAHe4P++OeG4SqRTKeHdfZ/Ax48wDrReNt2cAZCqeToj0M5MzBQm375qa81Qlo/B5H5A6Mz0Fj6DU08obpWR6SlAM7nUO8US5o74paW5YhbecjdFWGK3Le9IsMB8aKWv8iEjGWDwIhM91+BHAg8pDqBCdP3uCW/3ZxrdQh8TCG6KRwnZRLRMKx9tI24/C+TIG/zcZCWuPdsu8jD8EPFcK6Rn7yYxPUQX0vBtto6uk/49dvZ5xlyzNnLEjtG8LjLJl3XQVMweciTn7pNKcMEwziCEg9aA+Or+PviaAx7SpoJp7/BoaczW5KqBHsDMCddeFUYLMspz4zJBPcK9QP3b9tA1BGPbIPFJciXj2RiTH2tPtIfQceVSB9AxqrfnyQJ2DN/H061/xnJL53Fdb4VXXWUzaUQDpL8JVQMrqeH+SI/z/ZPvhr2CloxLeSyFvHigBpgqbVchntw0berlSAuHg0RFqvCDE1QE2dr/1fyueyAopNvVfNiNJ97LmnJ7O2X7Hsbyapz7pnp1yirMHoFOTTggSeAee9PFm/9851/8pFSia5nQ+pURrHF8AeQd0LzaGiG+ybMSpZT4ulI9jHgZHTArDVHCfg3Tf5UcIWQT407wIXf3WQ566jlHx9t8ksqsvegcFLrF1lcJxs1NdvzWE12mDoOCZGK6tvq9K3HN806vaWDHqMHj5Tjs7kg9IfVGf9FkVlpChaoEUsTBCyIdetXlauLbhWyfys0Xmd0W+NJSVdPjxRIjWYVSoBsGn09qxSF2muQLZM+w9JVjRmePiJ11Yj7U0Q/ATsNNtG8TKweaLdEQg2mTEWUWythC0vBVN7yF+QSXJipy6gw+mqO5jjqXm288jUvOCrnXv8Xdcqu8zYVdxM+3OFxR0AmwD3oEip6wIfiiIEB/qRdxpNnfKOq/ILUq2yBCfSJQrE5JKOfmruXXIqlHgPwxeteFRrbYgvkzISyDM369Pf6PPK6qEbDhWUvDd/G4MOUMhPtst5teRy1eN+KQaThVJyBvpf42BqNNRC7BQvdf2j6Br5KubXPpP3rfu/GbklB+uOdn2Po+q7sGfEJnmywP7WrY9SBNCBJdiZuV0bsEw1qbFmvXbT+fDPHGxuzXUIatSFQVzM51ka0CXKPj80Eg1zKcg/RFVROZmjyhgkoSoQaN3yREiXZvEZAH0wrw8D760qKFB8u6d+vxJGC+qge0/vtlQcT1bCm4BysM+IeCDLztfwISG9wtAcAD+nQZpQkIlIipmSmlZsXdYQLTjvheCW1iEKGm6f4VxihH5uDlVRr09F7yc1il/cqiu5QPWWrV8q5IySLBGXdmdshhroJxGmmOJ4t3Kfk/5pF38i3Lb8d9Lob1VvGZn608yxgkQhntEdBfKcFXrPsc+0lmK35HGUjQUJNoas3SdOC42jiwkN3RomlqL38t/X6aJn8Vak9CTr1/w5zjZW+H0GZ1IxMZenyb+OecGJ8kBDbFbO4HrMCNaaSp7IMkFoqXvzhvPkbjMrPnLFhX/f8WXOy/8ENMXZ8NIwz5HD8n7Fan+XrxOLgsNJIjQ2H9AXQZtMUETZ/BmkccgDxq2yEGhtooCzAH8SJm9ex8+28wL3+cqcQCEcnrciJfWcQi8Jg2SrhU6+nfY1SM6tT6PoUqPzETvl/gaqoFbTHcMcqgpcrA/aiQk6MdHyPqoc6pBy5HnNmfAwd8jApvvrcoVmxtsPVuKHlHPUTig8viarV9MA1woZ2mJ9tlkYMmK2o4FCx7Gdw73WKH8g/Glmti/iBfzpkRr6e2iVhGbSDoYU/ZjA8LOMdEuGClSvhkTvNM6A05VgpzG44ZjRRxMIcrqUAo0ew0m4hw7W45rM5bUi0381e2BQN20Doketwo50L1ZbfWK40oqphjunKu/aklPN7THyfoVXAwV2d1VdJYuE10KkGyS5Y4gtiTrWL9T4DLsUd005YMQ9r2zHpQOPfHBIOKQ2f+r2oQhvgCfchW5BjOUWpsm3XprHEjrdGJlsiEvuNRW0c/Mitm3DNvMgEDup4ixkEtf63ko0dR1xfN3dz6gg7EcmII30DKmL510SYPmyGU6EVYPU3p+TZPvVHDAEodKOlz03xdpHVMlZDU/KlL8Dyje6M6HwbzrBJ4au0MZCSwDnzFS7mw2J30niWgACzPRH3KFGys+EMrsiZaw/B20O58kDd0O2s0u6N9YvWtPvuyROW1V2AF4xE21rFFnMuximWB3tRg6og+eno8iHf2J+BKOc/gQkXu6wfYOyPBRY9U0+tMkWoI9t2FY4kdcz2QTFX2aTSoGiegU/9wHUZdyV8++cv4l9K7+D4tqIu9vQupMwcpjHq/RLfaWkkBf1KAx8Uq0Lr2Fl67SCT2q+LP/2/k4HX/n6mYJD/L3SdtDEBqlI48hEfB/CPMpmnKfvsgqAnw2/hYS2x+ijAp0opblRnOV2T3ncJyqtrlDguJcPZL5+uNz3GkVm3tslPPGic7seFmm6zhAO0WXnke4Mrh9SeXFDn/Movs6sLyapcok156l4x2sOSnrTJsdexhjMed4tuTqEbBPcstvADmChx1ZSQ3yf++LDrqpvq0XjzcSoEsquEuJqR8OSpshyfQGqPAhONZ6wUYKgL3A6FpuUTa0+QB7XI9861TUs9wWqPf/XKKt/PoKCD6FMg/MbAyJgVrBnjWBBZPiZCmn2DM4RJxwp1hiKuoIYheKVpf4lhUl73rKvXEcVXt0egDzIuSwrnC1waQ2j1XEQdg+MDEbKWqtM8p4cE0GyR+/eLF+pH/SUc10610NHCD5HuA6buOAKGI+Sj4lSwwG7M3ysUyLsjL+yZzjhIq1hI9MIq3pTN3TWpSNkV9ivhwlQN28xxR0hBQdKb7TGaMm9JowHcp9HDRBtAntm6Xzx+vPurZc8OFc5JBlIf823wn+rz92dPDAArMGHlFBysooTSj85VdBybRV0OroK510TV94pGv7Xfcl2MUhty3iUMDp91cXRCLfCaFbj1TKpqj6jbSRSMXt72MRZ2SzsH5NhxF+xWAXY3D7MjmGg2Vg1ltG3MrP8odzLLMeivjmAkkpEkY4QZPbjM4vGHD2FOn/Fiz3/qTDsjQztwQUYjcaQRmP4FYZyzYLChD20YSvuO1jMHblvl0s0i8fDF5c4kTxXME8BbtTQ2JE6hCtfebsoFkvfSL2cDP2uzJhwR5bQALITTahiyJtlJ+s3+yZw2V8qxdAZtOT5QqVJ3+eJsZ8r0GekiJGTuVeC18bbBqHT54Z9xQ5WyrPpqc99AsoYfAzbi2l4rC9M7mWVcvwrRj/qOb6UBzGTALgoz2cxg4+R5Y21EE4FBBaaqXomQaWOO3OppTyJFajMq4s5s8oysxiAPLoql39AtMnuxHrnEldikk7EThKdiTmXmr7CyhewxTmnqWhi1vcEWxjKUmsgXiAO8eYNwTASrMCq5XQdtPch5jd4+AUGPUuoqGtMFGm2s64WdiFTtoVgyO8a4280D7eQPSY+rzQfj3WvnaLHBZiMmpGkBTruLOwjbeMyq+XsgiWvrCM5YWWqR4ND/cJQpgU9ii0sAiV6+Lg8UxJIyh7UiKVkTyGNYpETERW0qe5BkJlYFF9UGt1bOJwYRisTAq6kBdhyBbrEx4D28RcHV3Qv43p7HY/B1zALxJaudFf2dU676NV2KN1V8tXHGWg96g2RnAK/BWMHysjGa5C5Mf/6wn3ZXZEFgsNI8DJ9gGZL9vAXgKFuOivcLZwiWy+v3wL9thZ5k6jbhH9gNyzE9rAUxLk4pE07tYnIKk6nm/dkacXGrATyQ21ncCN1vhp/wo/6PG6o+SmVdfzLswE/xQrL/PYcd7FtQfiDgsjlYZCHfcBXdE4exTdpVEKRteXIq4UbZtMg73jM1n8rd/cVqQTJrXqjwPX+GsHPOCDXgpHGYOxd2AR/HfAegZNR/JWom4NxlyILmaQbogp7lLu0Dy1bXOPjYJMWEu6vJGwLnLQ5Zt3HL9OkalkpQkCaAkZzWtvvVDutxggc5vGZBfeoXdfntkSvd4br8VClSMAVcrqF9QzOs1n4brMN72TeMiXndWW3mmsmvvk9XpAJB/ali1JvgEsXeH5AyYMaSPrqonZ04EjNhKmyp+YZBtpz5w1uz9AzzOtWbGzwtE0kmFLkai8lW4rU/0NhbpYtP921kag0xyNmh3os//yvPrEj5GwwNqsKc5B9yIrzox2oFh65hQGYzPrKxEA+vUft5pxhfjmU3i6TVT+RAz/NlmEqyDNrbtvuyssbBkwIAmocJxyyiJmMqy3Mdlk+g4wlbHLPPWUXeqWAEVikBiC7/chwuG1S31FBNPK6iWAHd9bCu27pN2AzQAbZ8hCleWoIC012Sd/GMRVn8PjLk0eIoFYDNqtbo+2Vhv/uEINS8vOe7DbPmAbLtFox2DcpOYhVZzFXp2UkGV3UYKO+3jpE1F6/SlseWGnlr08qlQ0j7CRleSLDrKzftLCvaMMn9ET5+4TX7DnBkbxnGmmGQ6mIHQuDxfPE1rD6AKa4FOC4txMizhSe9Tx2fqw0pjnTXM8kWZ0ESsvOkLNP8nec/unbJaNmk9I+DLOtCidXcCs2mvsqDDs7Hu/6ECYmG3pim8+WKm5BNsls0Yr+sCkhLJDsAEd+X1K1OjrhPPtrCeoD4TurjZoZlcl/8oKtkUgA2VFLFEYyRznO/tu1NmELhnnYoGeztAXugSL3Ks4YIeYLap7BKI3wsUnO2sr9nfw0ydzpfu5bgDfQfUUCRZAc9MDQbcqGc2juwhm4TcDRgnQ8Y4AWf4LwRCnnG1hYERM8b/tqxnk6Zo8ewr9Y9J3w5iSbdPGXDa0nxTy9/qn8WsuLFGP2T0CK2J7EEqs5yLL5J2+7lzVrRjyYulG6rA8D86yt04l7XfFijqoeM1NNchEyFiJBfodA1zfRk40gMkCs4b4VRGh5LM9HxhkWWpIfwnhZtMH66EqrUbrMQ43A7JwNtCqrBdUT5OkMa3A6vuQS6x0D1lpFfzGA/+ppc4Kj39Zci94dBe1KdVLj8OAoShw2zdFozN5Kq1m0jmuAv4zhv/361nQP91pwBpK8iJXAZi81GhIX/JfoQm0ROmPF+i9xGh2TwH6XV5oy+v8cwhoKvgInHfgYxTzsxyGYcSloMmFldqesbtP+GLexxBGgiaEDUQpi62L/4B+JMgJCi4PNfx/Tcvk7E0jumBEm89ILXd/OiipfKmKUc7WdirIiqZfUpgKA9DgcKPVEFz7AFGay396971jbWZzMbA+02W6UY3bny1frcLkMgAO3dfAp2lekQdzLx9mQWB7/0c3fY8et0ddd3hEOSs3Lo75lF00x9N+xpXstubFd851ymmmKZBJC5OBnf6ILTlT7t/HONrq4sot3cToxeGxdquxEXEbCurRxsGjKOUwTAMl4csyxjiE1ZJMXY6TIyxmyKYvRQF21BdoG1SUGp3zOlsWyhiXf//Z0vZrx/aB8h04gJIwAffjxB0hbUNtw+Fz+pooVNS30I7Rl3cm0tr4FLR1lXZliXQGEwt77VCEea/0mIfyGE/IPesSyvArvZBuwvL+Cj6HG1DUZCvVRMNwzLIl+U9NhcyRfxbPjuFldE16ixx+oaMFrqS1DtJQqiCwWaGIfn7t5useClvKkPImlLuI9iFFId293bTtZpdjVZfkKU2gMUt3rUvYqwnzQcI8+IeLT8RGtjggr3cajUEVITVVw4JzFOnstlLN6jdCq7UfKpoOgfaoaNlCVF8b365lmhgsHls3gMHrlquSEmuuGrwqIl/e4b+C2lvTMn/tpT9cgCBGAVKZAj+hdkof9hQTBrMHRAnqCcunmleCk8/35jtyAZ3me4QnEukjL7ExFoJPRoZf03bsv5hB+9ra1ht/Lk0o07c4O0TVgbXUJN36Y7BpNLMxdWROSdRJWPTbDHxsAQVfeCdZkddt7MR/3eiJ2bxdxQ2wniv19rVsCq367fl4bQ643DxKapTZcS+y3z/sWZPvHvBEjmGoggmvl/1DTYFl8Eo9YiTGApmp/XXZmXHj0LROG6Do5Hvw/FU56hB9wC7nAFx3OTPmyTuYJKrEFxLiky/xJ47C96C0Cs5SIcoHjR3Chhz3EAHw6xVaf7SjKQDfmJUTZU+ii4WaoSgCnOCa+XCTIPj3A/qWDS0JW0dS/VwTvWJ55oRpcdHBg1xkJ5BjobtDNK/4KL9FaKCckLBUdPHbfocxMBFU16gN8bbny/4fOiDo3ZNBi4k3kr9rcXTNIdH2wi8sLhNoLME8p9huP5UkNpHwWmNyVKPryuLlVzbeAH3e51kFOgSYKyw1G2n3wfHrJ8yxYJupyVb3VSo0z/mPbwon0DZ6KLiU6yA8+Af0DkR+51XujaI35rIwotKsvTXgRN30RERdShUcQhPbdJm/OENvYtY3Y3yw6Ace0a1VyrjpRLIoxXKiT+8uZL7Z5En2vBCDQP/KQz75LMPx06hq2gD+ZEgSLDA97pTnumoObqwqz6ncLAEACeYpYExxD0QiAHxZcSzg/MI0x3WOJS8itiRPp1eOqf8IpS4924CNi9ypg4WEgQz6+EUHx0k7eKM4tTiG76Vbm6UwOWz0sKByWsKRBVE5sd/lj+//1i0MIwohOXe7QPwIgT2ksuL02g38JiehJK2MNYtfdMwTtt+xdIZK6HvHJ0KTFKNN7666vS3tNZlhoOaxNn7vy+cC6mKgoaQewmUFMdW8ZX78hBthQp1kGDnRDAk1M0O5Rd2y3sAips3gYMPBFZmi1D+mR7oXu+ENDjqpIzsC+DF29nMMl7nIdmsEhsF3d1304RqF5ROagFZa0N/8qWj25NJdi+X3KWcVbVUs/6pdsf+SQZKJMUZAI2Tt6j+KwiS5Wb0rgSt7TWgtD09re8UWt0zvitm7Yx810Pc6sZN3aZ5I6BpzzVQLdD73Eehc8oDWaEbmI2ZXsNL9CsHPTGXbJ/geRxslBxbaGsADBwts1rIyDw3g8cWKrAKh6Ki8gGAmXGH000lQl7WlAJd3tjLsgAlV3N+Uhzz7UHKqkLtOJNiPSSzbBN8e6jeKhLD1wUrKHt1P5OfvpxcYu/xl31zY+S2t3Z/diXYX5pZmUzdOEytFy3UI7K+pn/Z4IKC/y1ULdaR9thr17ru3FsbLV/5xP/jg9EDUaMZSmfueWJKQaPIruS1yQAGs3v0d3Cdmc/19L/Ql2Og5Vptzg+YghCdR+sh9HAXhm82A2c2SDjSEyd7S/6oxJ9NHveaFR0erFjgdUrOvUT0U9Sh4P4tmm0oNWf5E8cEDovAogBUpUS1xC4Wlrt0sHwkZXi1Ws6eMjWWpvi7aAAWAgvmmbu/PWubrvRN4w9R6jXMdN3XVio1mH8YuUunaqnXJzsHr2LRB0mWMBZFfBKFlzNVjHnWKstFsvT7s+mdK9icXhsTLlG5tyCBTFpooolYHqLewDt1vHiKK0mK8eZmUVbyVDCk3MsooyetTFwsE900dA9Kij9BXOBxO6wLMKGPDbXQR+7rJWFFNv+7Z/lJ7Jqb6EhjIeJM/lnIMWu1bGlJ9ZYxWNjPHMFOqyyDmW3uHALUEoQhH1GdhGkPoFYMq6MGU4lLBWLxVM2Vax5bemUT8CBnJwfm1A0VWJM1SUdoqeUFwwPYSRVxul5kMv0/LeEctw3kVQQXFGgRF+pLnlwob+Av+h0WI4qfGfg8Ih6DsZaUFial+838awZ3x2XKkvAcFbyOMPzDZOfPcuci6G9ea/D6E3v9jNO848vpftUVnuWR3jBqEYi1yfA6x2WAQjUAarDqwThA8Rf1vCz14jvhuBcMGoBCUZIJ+Xa/LgG7el2hSPx8i4Q5mG9v6B3GT52oX+yg4Le/OkBVyQcFe0ssuVTIOncqcCiNOOhrZTxFZLkPWejTWgXVydHkgJQdgOX7UVHSwRYo6cDwYwmRwvbYAMtj98zA7uNa67+5/KnVhRurQOe+tNLO1Z+HZW2FdkOfqYVDKrDA1BzskqVPmqCfpYLnTRYhVFRbpuivJUiR2uHFLb7PwYBalHPnYlf7Ogd8MXZzfp0VnwGNdjpbjeeQqI8hvtome/FPG/gAjwB2Htk1T/7OwZiSEJjt+Fs86TXFJ0tOHxzcTAMyrbBXM6IFWsyF6RT8jVmWSup8RyZRjp/JjVIiMuAOdfqtlFwIX3w+r4r2gMWG8DBrQB7W+ZcbSYg1EpOAn32QL7Hyibh4ee6Y5rf7j0Z1h6UP7b3wptMx3tfiDNquwIgQMuLmPUUobA11AgXt5NGDd98WA/v6aXglpzCt4Rj5mBWDe9QM4INtLDyirM32xHaWg1yMPG6TmMxGeVH4wr2+FgsJ0KTpBf4MeBlbS2KuqxbJUMRwhZIUnTsQ5yd4M7XZBJYkFdYCJxy31Nlhcn+B6drrrZ/AUYiHDRGGhYayvUffJMTtXu24ueJbki7b9QDx4pAwQOR0AWiWGuy8/9tZtqCDhZk73LEJbU/CuncfCRzuvWxQCLCn6o911HMNrLspi02M86iNQWwhuGX04rYj9QUstgCMXgWFJ6XllEIGKXZiRXOluNE5bw1n5mnDYnxzqJcmePho2/R5ayK8BvEzcv0m1QX1lILHb7L4MvdZ4P85cHBdlFmKJB+V3vtD5eU4xeKWfKnNe6sm4M8QQ1LHhSA0oMOkK5GyPEvxPFVmDjmWbuYXC41HTZgZFuIKQZ8kVsgx+wnf6GMcAfVko+a+cwq+ohFxT10M5gAoRIa1XBNUWJlpv3SPQO2yUvqJakgdnDIqh6dvePQM1/A1SyiO0/FXRxccv4r5EHC4zGZFXy/ZGQkwvGVkKiAgHn86F0NaRWK1VibhnnZY23DNumvjSjVeQWnvrFQijs7eT1h0wTAyZKNWMabYhbe6saAfL1JHMJ1axkvR/YWFxIVcz1N7HbAVZkvFMZe/vf9N/nNHfrxgggclXV+wUJAhjTfAZVEeaKFo37bdWJcYJ69mKrEpDcsNCFoocbekh0zw+DB1b7Wn1/kKSOkk7lL8f00bRoLCiYnOK6HIBCSypfPEzWhjF+zSn8jYgy5IWMe57uJj8nk2cOsvcV8UvqTyQhcGfrBMhJUQ1OvLCWlUKG3kJ6ykF8ubHKjLiSMeIxKR54SrtLlKCxR734A5J4hdHNRsxKsP6HpUWs22nCwBc4onXDnUbcWXHN+C/M3uwtddje4B/J/Gc84nNo3nYIHznJ6bI85/iSxVE7f/bjZghOtE2KRtyMWCBFwN3DsYMPJX2aRvtxMAnXx595Exq0okfQ4sYsgtNG8fufsE8KtE82jRoibm6SuAXpJHFidrRVkHNjbXIvHYqEMQmB9MD8/NdtoTx+JeX4tlZvAyyYmEU8S5/F54zVzxn0JGkYxH3PojTxym0Ut6KYiQ5khfiRfQcbtYyI+DeRwXRBbu1Vt1CrSoLJS9wciM3Bu/T4KsdOfpAFFlgUwlw9ay/sWtjBWlb8ozeQFLw47RhOYAcePNzKs7FQxPJgaisI0r6hOg9gkF/RPH+LT9Tc8LnZxm1fyoqd3A32XZp6rQCd0C+88DEcScXNPcud5beQXYPffoM8ny+NpV4Bcm3CEm4/HahYC8gkvr7XaFgbLIYxz6hsx8knKw6iIAaXdz33F20noLfEvajIaN6zG+DpPExLaJcu3ikd4WVqBoc7Nmqyy3rTjtUu3nWz0++jT8xqG5XP1fO3sKCPjnFwbcyP+sq1c7lRvWiVER5aOgp5WCSBVi09+k4mjskTmttRxQMJh8YoppBRp8OvdrKc+Q1BKt8s5utJlfJXgcf+tYtjTIrg7gqbXJIhGSpAl6oWzOqgRbSXwn6/Wg56oTIEdfQC7MnX2yC7kpdCQGagF+wsCjDZX7TwqU/nbJzKJPjbnHS50lWZ9oSla1OQOXsDfTJk8WnqI/BJ2EQeVr1RHhlCw5F+LB4mx6D4Ex6uvm9NYmYEuriAF9vC+QY9Ha1Hy9OQIDlipf+v8LeIoBYAM4sXxIBnahKGkKpt3f/1LPtbWKdQxl8dgm+zn/k4shaibrq7YqPcO6t7DNBC1K872myMO5oDWlnHSM5uHe2m8gZ+aPniTokk/jtpHC8LdXVuzWoejgyE6j6+Bd9XEfW9egAC9EyjF4mp0pJnoJH46AbJsnurw6zJSZYh/inWVgbXbrHyJRbtyRYMP2JJdOyzsFIjUft8BuG9TVhizZGzVjGvIzpXNSdH+Wztk8cCj24869nNUeOikQE7/2iy6ZJSWQOcQEsIQXcRjgJ3JQwGodqzLX9gxypVB2V97baIKr7Yfr2FeaS9cI6Y6EO+/BxdnbrAqvn0jZFvEee7iCHJKwtW3+72MX+FwbCguzoTbGDHVS0nY/nx5Huem2WaNeQc2jWsJW6Axs3TxBchX4wFn72kUHHtJIHUOsVDyJ5e4yqjzTVQN8BNiPebQcndsvhFnulGKasqbW77UoyCOGWAdnL96/StVpjqnx3kfct35ZbWHgBZGGorLJHJ4wLavc/Ows6+6VDMHzt8a/VyglLJE9gaOYqcXuEKQ0748cxCh4E5uqv4236ELo+PF4/6TCmb5Ln7mIFkhhGEJBzp4+B7qg3y+7GSNPcz9ex9iNNwVUaOFrsFX0nqtiL+hX2wkzKaWdxl/bM7LDODvB4P5mRX3FU1eV08HnOq1e5o1i2j6npN/4d9F7prRH4S5L04umiSvPHiQEZtk6cDPkgTptUK0YztRsRyuvVnwLA0GfpVyqKOXBe3JVt3cHJy4zzjufDbHTPwWK6oLu94yFPH778mjSpDjLGvG6S88TeU45o3pZw5A6uwZdC2W0DZwY2A5af4ttopOhSNnU4nACHk9dZ+XSLlwiC0TccP4yLfzjp4ecFAa5TcBGCCPQgyCpfoSiRsqSGWcS8F8YGGLSUNjGJiBQHDqVR+BRB6TKqJxJ1aihPF16xV6+uwZcoAi4Mc0CRh4A/cyEUj3eyeJp8217Z4WBKAAjpRxY91PbtMteXFuG+quL1tE9sur1wBQwDPI82WM3PZSqxF7IAsuFk6VqbqbSPzGFDVqB5UVBROqSddxBau5giNZRHRokFczNFAD6CAzwz23jvbZjq3gQ8Nn8TkeI4mIyyfJ3M1WtdqavYUWjEIaKDYNhtoIad+kn3qQSLlzpHhLKQyOnHLuWsK6QYUNc0fcCis6ePGR2LQBo/GdqU/YKobY51Ik1GcwTLhtRU8YShwczh3OaJEbabzUIAjR24Qn+WPVfvPmnCd3iESZJX3NHpwg9BJD58hkS7LkC0z6YcoHQXZFClEbaM/u4ia1MgqKYnnHifTiMHkJvnHByQG+88UegJayQW2XcEw5XVbq4dLMUasTKNNeSFvjLAnRTea90/Zx27UnmwgdisYUA0ceqmERvQrtIleliasbsl2U524Ke/VOcoOcpBSf9kr7h5sy6M9pj+KhI2VZxH6OBOxZxfsh1aiA0iKBBbwYtSrH1IZqUhKChglm0nccvj62lVvKYAiLe3AeRUIJfxd69kX3MfNV51L1UDxJOfJhpb2zqBDrr8j7DOPo0nnX3UrR1giHzfc+dj2phMcSJcaxEpDcJTZjoolFLba6vjxHFxu/SYBzwXcnTfSqSU9yR5tM4Nk9GjZ3QWEVJwh0mrsbEWeVks8l0Lz27IzqkAYIdkcvDxkLzYSqzhI08n4EOQ/EY4Oh5ZYgw7ImZ02lApgv305nxeN/UOrPJqgWm+VpHbw2v0W5kPnMD76GXrZvsaeq6b5UA+WjL/hgTHkUtKtsI0QTBaiON/iSMzPZkUzljBvD6Tvpc21xSlXrnUh80UzZtnNfjZx6l9RwH7XdEIS70pxzA/mihdvFWpCuUWDpzn7GyN/h+tIq5Su4eXWr43kRyhuvh+pcZYueCAa6fFlUyw61UEwgPMzxJnOB1fuuEa+O+mv3Fc4T4z9yaNW8qiPAgPn+4xHMXzk8oAW7nA3aul1vAhv2dxEE7O81VH8/7t4mWh+cTBawu13/QXCU9ENkOIFWI/81V2Mnswm2jHXvK4AM7wY5SM2HNLFKBh4aBst6H4VItcgijVFCJU4Y7qr8NckjNg/Cw8O6b75KSFBK/QuzFtg0pX6+RMiszmcodR9hPtwuBgYXvg/e924S43/bGeRXxdH9Y0YT0w8njE6UbOZyEFcNGC8oOdA0OOCqPMgytznwtHSbSaT//hd2XX3/d8l4tI+iPlZwfN3LVCaIMhJOwYcVtg3EOAZjEzGX4TSgZJM0+if9GVXJEjeyG3nZsLkbTY2nWyjUKxMM9tU/FHDJ0EfU8Z234CKOaJvl3jGJN6f5trD0zUkyPTg3RppYoxVHVj9ZOb1R30VbEAbTr2KWYw0SAFlmylzQqITgtvjZatl7qiYEIdjiPHjkBQ/xvUf64Aa30BorknBWko4uLDq6AaFpTkhWufU9cg/jSgebP5nBCqZh6FIvs/VZIRiQdfcMYmWo4qywyDIn9XasXKbXVEJaQKkh8tfbQ9GzhV+Z90Z0KcX4ftIt3jibtoU0hO7gP7VAN3AC/SiqbOhVcClRNB40jTbhyg93BnP/+m/gGLtYR233xhtlri19WMVmd0s83gGCRyASsQSOe7WQ5D2ojpeY7Hv5oVWkGHQIUy297JC9xaFCkv1Vgcuz4FSObSNoJtE8ydJ6qtNGAQkn9t1qX/sB8EBcLYWQZZNzVbdlRM40gm72wlnb/Kqb2yZpFSMX/bsCJeExhYG3UoBh5aercddV1Q0rh0864FzN0c/nQ21YcE5tboJxeAwuay7NsbjBGTRnCm6gNVgXjC3EJKfdFlfAMPi5oFWem5S7AxKDWmhfTuuWAn7xqO0aec/86vJG5aCssMo1dKuD04kSEJhEdVkKr3DaIEyjpXiqWiCYRfiK/w2cUItTc+htxAjTLEkaMm9UzUimhpNNoIZGS9rq6qQ11+KoTecsqgWQ3BZqyO+k5YMqCPjnePiRMyAyl479IlBNj4X/QfZ3s0YS519SaizAiqGnMhnsiPRNzYhgDVwgZkGbLIT61Rmx4aeDG9IjeaQpbXPxYoIDLa0ssbI/IHxClvp4GBwOFjxMgny5Brt0AiM2JLgvY4rPrzxu/vIt6TLa2rrcObheCXPZNwrFVaJf9inLj49xug5DmvPsppSDoJe1DnBGVmOg85exxmM97K3Ci5NsqgOZMuDriYvCTM5Ml9wwj+332iJEe8h4wkFbKcgSUdX0Ds114rRFFQ0dGOLMz93kG/k5SCmhAiOd/CAvSVQouQ6sy8kliPkeaC8Jn1nmUa5tRV7t6jweP/GB195joCN/6cx7Kn23/AaxpRTO7nxfYc4sJPKzj8sW6UdH2gcpDImsIRiumbIC4EwhnnW0JUWM4zyUTtSFjOyxCk61b6PBFQXaUsUo0fVViBPFmVZY4q42EHRoc8zu6AY5KQh/e4EyIJ6zR8ZMZ2MhFJoModIxxjAZYf+aWM9x3dn5Q/KE6fQd823QaUVE8A2olxMxfQVz3dCK1EaznwhhlMAYo4HEWgrDtJx0HVtG4xPXEHqXzVZzK8TsQEPJe1ZcwhZ+qb4qE4QURwgFlTEFUt1MsM8rtI66lZXKuuI1mpIfYLhrTj7xq3pPNOp3MwGFF2v3+OT4HaV3tUwb5q6NzMwc+OVRltFFiQlQTQrkt2Q0EgjHphO4OntnXQizapQKWlMbtnhaznJ1bKlEjjBsZVX1U+XFKHi8Rl9zNGov/Sepo27FxcEMLTfXwhcf6f6DPpqQSi4g5i/ZxV7zBOIKSnYD/1MpfctvwzViCXXh5aXPTuGPAyAQ9A6Nki8A2RqBsZUcw4Mfce+2y9dajs3xI2FtCY7h0nY7B8lBVC8spBf5jJ1ORtAzGrv+wFOd591ZCNXvT3VnAFbhd7zMSDz2tcd7V25kAdI2GTRZLolX9SMxBz/uJ8VpQacI6fLKt7qeOA4e1asHYiYnUlOhwguOvEawvGBLEGe9WgpygTuC/sMzptHJH7euYX/Sqb2Zjz/nMHyLXNois0TCd9lTkiBezuEfA5SfqFC6zWfM/zEdO98qzL58oehXb/Cn5wUOem+wKu7jXpAiVsB5K8U7gGXYEcAGQp48L4ZAjWqdIkWWgEXV5SMlkgMKUBCFoj4bK0fcyEUkIL2t8J7pGNY3yEd+cU1uOCXpffynYeGMwbM7uCu1enM/Lx7F4i05Z6c+V4hQQOZuqd9GioKTL7OBZSnLGzDrs/QweYOv5H54MACtx92sQN2j3X+lSqmCR6yZP4x3PJsUMlMFEszHmwFjDrn0cfdDNVTJXd899a7D+pWmRzIpiQD1MY0w25LspN/bEvsMRo4gWYgNrQUaQBzS+FmPMO568gpPO7NDSpep5qrxriRwlxLMlrfwdXBHLNIyW33qiaJlmVwFCnw2zKnHunZOoW0mmI/B950MQOxB87r0F1up0+hQcxOcwDyLQ1cdIu93mUphiVbWmZF2Y9aPqrE0tqs91synJfKZ5fiPTqLNsawQUxtVcFjf27nWZpGpzv3txN+tViWm+La/Nqp2BuZztxKNmK+G3f8yuliFFjkpcWkK7ir6DWBMqA5L+sRx3IKBya4R+ZAmOtenhmIi95sL9FdsC1DN7ya4w6SG2fdsyPkYyRbECQf9B9ktnk3R2hBOgkpuzrcEVmqc6ONboRTH9MsHOT0eUhKZumHbkP1bHEEZjGDcQFb1ykO4qN/RBEKyumgv0B2MkQKjpT+l8i1f/s17V+CSBo8wZmowgOxnEvb4DLQC2/6zQmOvifPgnFZl4HzI+GOxy9qzjiplS+D+2Mayf/WvWIdz3+1S1IIxvjLESc/4k+PNpzvGdevJ+Obsus2dpKY4QEGj8+NDKFYDYlRCJa+4ApKfuJasrCtGYGNAq+APZA0qW5DeTSNjx8LVt5+Vb10WFRMI/blvv8lQzbXYv2j+b/f53ic3Re/zSHLPlXg36chgfl9GKRVNv59Zxo31iHOZX4gGrj03Hsp/U+Dg9asUlZy09eRgbYEx4+qkxpE88TpoIOklO3IhonrpZAyDd7hJ2RwRa40enxNY0sL5z1vs47fuEbR3xWj4XL1rvzTHzQcNY0QETTktaoYO8QBRY9Z0YDxgVApdEKiKVRX6BhtI0JmVRoTdn6e+nJKsUuC/ARCfpHQUKpsDsyQK6R2mz1/fQkqHRhKKvqx5fASuCiSkGHN3R5bGoqiKQDEvRwPEvCEadYL46B0vHRK5iGOFbGyBms9JoGQYLx9ZZY7YrfaoBjrj9edsjM2bhZXTFevhwc00uXl9qAB0NafvS/pxN829vZz4ojAE+U//nF+/NLeUr/Dg/L7qxDF5N+9XM/soEnUajHASEWz1tjVLaXu+/vLSdexrDBKVU09nUpUEIY1BNY1qLt0G1i0Ir3yaFob+xChXgJ9Ewug7/MjdWkbXMLI9CiaIThR3x2ofhX+goBqlqRTfnab6BPYh2TH1+F6IWmRtZXmFrM6hWuMQ5DY4it8agkbMY7QUx/fnRKVe0sDOa/j8ima/ZmqsxurYtrdFrrz/JQeZZ8PFHIjJvVGTaBmz3lA0eu612vytmwyGJriKk9KxBlYEwmHBGt0aojUg36mib6iveQU3CM7yMnUpg6Zl6HClzRkTPGHetH6OAeMNW+B1yfYZ5Wl1PbJZDECH5nfLs4ZfjLNFOHO78q6n51k7P/rQmQEy80IgrG2FLpUXR514Sb3yZ1kbJ1eEUlexFIOXfJxjooPUtre10l+gCFUKHhVrg+jAT49Ae78eN84SOzs/mFGKZO7upDIqJoOul62+L47UqYBC7kJ2W/2z0ZTPtLmV6fClMjpjGBQV5AVy3Tfn4C92s1C7VKbE+JAU5ov0KUQSmHEPtkGocX8t1X9NpDtvJyf8qhVs0TUwHhvOclP5p1wxpdT91u/j0hfWADJDn3fIr3b422ktNi7cccCSzaXVrkKu5Xvkq/WhdJvgRUWpCbJ5iL+pLQPXcd7Wlb4l3BRw9bv6Y49EkAZlW5ZxO7eJwDw87+iYLUsVKQ/pU9FfsVwhps2ZFW7RhrCfr7s/5IoFkYeWyY8eplsNcRcteNh5m/V1MDxYWBu1nO3RPFM6xkLese0CyRPLjvRURkvaRpFgpTbiXMFtVAmolFtyMACqHxbvHnTycHlS3bJweahzqMF62hENBlrPqeRNrsZ8wmiN1xcVYCwd/Ec2B2/jl8ewGf2b7C58zPghf5IHKgNDZDkKMNi4veFIiKmOw7eEpMFajf+dW7va+0edJLhU1tfl61B5krosSxG89WuZ0MTql0V3sc1Iys97mBsBdq2rpvhEvmmM0IXYnj2K/d7KTRmWTOCoqSeZxEDk3mJmw9Hj6HjvZ975YHbmz7FST8tMFqoKTi6+e3FSaWPiURFuFzMif8z0JciOjNJeqT0KF8agaCVjVWddVOkAobI2W/fjhvXze4oU9VTriLLpkp4D8kK/EwE4uccKhb5cxSr3IFpj15Au4ZQP+KwWlRuAxMdY3NAyVseqYXDxJjRHgfQtvVK/Q2fy5S2SvEyqDT5D0wf4y5OtGhtQu36x2XQW6Zdoyar1X+GnGoYaO4daHpZ3rGJr7tCPgi4IykxYuYj4ExIiXNlorUrZd7fLhNpHsn8dFxSWw0TVXnJ0pHJxtcO+1OBiQDeIAC0HeDrl0N4yHOcOw9LArv7wTCwuNeyqmqlnPgfLLRca2hwS7cqwmA7pV3GYZ7mNrESpunSuaBQqT3lRcwExAWsQdlzk/hjn6pFct2gRn6jyYTiiz5hvVrI5Xp41d7JMw4azPZltWtSneskPud+b9suRybaiKyGEq5N5Zvr6NJXk0FfBmkCLhk2iHB/Lou4IRkUetkzw1g02rdAaA5tTJy+hdRTfbhewcW4KiwyniYOKWmJOdQxhG7OA53RI2lmQkeZ7wcxdbOoE5Fk4j6d2I6IdT6jRicDYGH3FEqsU7UREhLE2d3gTqOXGMxeQjzwtN44Kg9WjPZwVdK2SekDNRdLLkN8iV/rMtx5FtSrCngINKKM8s83mk7BAG1sSDSK9Lc7inHiRsS/bg5d6yAfvF+lNAstn3SIvCzK3UgePOaSTL5waVsMtEDmdpkODJlq68AAvZWkDcIfkmtzRoqtND4AGLUG3V25GWMcx9K0monkqhSK4DmoqtyNf9w/09zCpPE7V4/PIwad4HrUdkFuG7J+FL201eBL2RFpG2mX0UzM1TFA5UxCtUWm/F1bycjgFmF+tnmsTkbKWpI1FVVi2sGqq2aoVYJ37cAjrAIrwdIGeSdIcAw1MakoKrPoz4AMD8dKRFE3aqaUunl3XJBx+kLmTwZekKKPCkRKH8vQWuzm9soztAnX6Q40euAO/BlG5gL4yG52F1SCmGT7mE+PvJNgEjyuzBgxqCWhb7XdOLlaSaUD+MWM7Iw1e2fr9PRTM/HYVzyS85to+x1eIeZOSfAMo9LCwA7l+Zb4309Orn8Zz2NIjBMHvd9AfL4gqAgiLn8s70f9KAsisrL+h0BFUNodpml3upZwm2oa6r7gCCtr+HiNDSxCTz1PwJiqwL9HVDaUuxH44lZemr7Amwk1ickFjNh5eMPY58BZ9O2nRdudUtkLx0itstiO6JRXkJgTm+dnbKAFwdzU2xOQ1kH4r5zGqHosP4VberNf+9l6zI6S0iQ9XblY/EG858/GilInkvF0bLlrLD/bl4ch7seedRiDhP274hu64SWgtI+gLyfKF7Bop6GYyFmjZqD/vxIAkWi3HRTlIpBLh6Da1b3J8NbhUymtqB7hXSFNgigfjYMeOIwhTdraBUTYV8wK8zkMqaqeoFIGVqEUycm70oa+JOi6qj2S25gF8BqUGUBXbpAx9NgEx0+KYT5aM9zDijHwi10V5XTaapgW9p8fpian6VZUFFzKOf05pHoJ+sSkF9zJH1eHzcnM2uKMVthQo4CKb0jlXFQ21n2+oBi4faGUbmYNJmal96kR2lsPwmPhgh5uw2Fwra71GsmNzjDnlzxxCnQq1TNtX1agMYR1iBi9JlZj5h6eGEfxggH49Fg4e7wBg7/4dUoskuzZz1soynrlFMDVFevKYqUSZ/kycGvBT2qPAvy2XZrA8gjMXFsVLjiwi24jKqpbLticJ648zVhvHFt0ytqxJVoewEOiG8vxUPIBeqSc1kxKnTjkVXd1tRtltt7n5IJ1v+6sJd3YplLMwbtOd0ulbfk5thJ/45zIWWYleAsj8nfINd2IvHqu4Lk7E8L3yYfisRl2jZcViRURwCs/IQEm8ovWh+plAdxuCaoZRBzApDvvCTsrVlZGrc/kmA7qUstQAcDSDbtv+0AuVWyD0YMZXAkDXbylDeqDO+TzNWlFYMEdzlDue6geVIKlrHqvKsoSZbw54m0WFucKkU6EQ/w6LpmrA2ACcxawn2R2yDP4G35YzhHJE41BIRLFhUR8vsrIsAiNa+MRb3abaHnI5986/keXrf3z9vAbPjNzhnRYHzke5PYvLaGNp2RY4EnErXDNoJRqI7K/PACWX+s4N4aW/ghhqylMYcYOHAd2cMMno4o1t1pL8p23Xde8w5fHiQ7ePOKYPRxfnjjJesf5a7BevP+bo8fwcpYm66kIa5lUrOXQZoqtYH8s0/dao2mwyyyUJU3+OhsPXj/iwz34NAgGdSETlmrCPWLZIx6qdo0unkspnRLa1/qLE9pOL/uFYJ5I19qkDYbszTG/srdpXbqSoAXKWBXMxhxJpE4zv91LkolDk7CirKom4mbpKQRtkIeI5woUhz3diKLzY79Cme2KTy0fz1IdibK0dEvcDexsND8oOsuQcJD77j4sxzFPgVjMuUDoX4ubv/Ye43zm3Rt1/JaZhm0f4FPzuY/pF9w5yk2tLSaRf2hb0SpVIZhq79XXiXps2Q1Aiy52i4gRiCEa2teauxJNHOvBsQz5wV5k3nlPPLJMOv0LgjQiwXpJ6QormNfB2UZU9EIJDMyBwLCNhDCipIp2lGl5gKC/nY/2k85vgmS1J/dvRlrXKmKB+/lYfZ0YUVPFiw6cb0lETpUMNnahCrZx06xVseohb4sP+fWKiAewEdm7oNs7GJTM90XZpwJZM7RIOAa0dxuu/gA7mWAdOBCfEWkFUs0AlpAFAwZrVtPP37dfKU+0Ow1tinKtx9shCDRzbugLxsPtzmeW8AVmbkftiQzJcqz3IFuCnJ6XIP7ga481Q/LBKuyWvEJxR6s/fFLUr2jWk/OZ4moizdqfByEISgKiX4vZGW3tHP5ZWswnph+NCjv3LPOpVGYGJcrfWaQsJ6QWlRhDDvFlu1Jt8fRE6LyR9TS3KPH7D58HLB5oaD4ZWKmJcMvXNOlnLUEwSgneIux2e7JSVxOF9VatHN9RMOLHuWgQuNU8oQA462YXiihCzwSc6Ckp1/0cPiktIgvcBlNw2sINX1RB9M6993N1AjFH+9zzemoUpwK/S3VzEpU+PRvfqnL3fayxcWLN1Rw/AbHKXedbNy0JZX44Vgznude0siY7XU5iB0jPJZSsOwf5k2gzNIm6oKI7bUTQcrYDlIDOK6qr1zu8ravk7pKd9/ys8qcxFKd0fra02XJm988vvNrG4gpli5pOy0xakQgAivaRKXwa8OE53b0NyFVFRZ6UBSV5Sw8OvW5jTRUh4Q/r5G3MIn+bA0mnUMaYtTuDCL4B4VQJUcZ8Txp4wP55dAlNNUdqbBefc1JZOGCupVi+gs/Di4EBTmPbt1g5OkaHGjc0m8kbOBKQ0COmxEle9cbixBnu7bcR8AVlDvOM25/N6vHUDSJx10pjjJmKnSZo6Efs7omCKJUaB1Zbqgvxna7YtbnbKTnQz9h4VeO3Ukjpi0OAbNfgbgCLN0Vdk4KH8/P4+67mal5g0l5x334zmdYZ0rp53udKIwEWGx6oYWkQ9nHJhP0doBS90e3LSsK2toLdLzfIdzeqsBr/B3LJ3hP2WnniCtP0AOoqCLoruPZOHGuQsVSDZS0KfT61G7lHdYgcP2B2G8EzdeyvjSkrFE6bK3CKDlQMQIY42HQN3c0uJqv0ZLLYgYq6lkmzPFL2f99e1qfm5Vk5ZJ8gSbUFUH8F/e0bcJ/drZtMX+O1ISHeD5DTvmmvgH7imUpEBXbEGj33MxbAWKsuiGL8Wlak2iu4r+c2fIOT4RGXwigClSJuj5H/BsmL4N0PEdiTGPn8dOULidVTkRkZkFBh42+8xCE/y5fZdX5xc5Fm6tV+R1xjNxNaclV5955sDZ+/+tMXSQ/VUgUMYzEi06WUJ0Tz398q0US5LnhQEMnNpk+A+fE7B4iu6CqUz2cZfdMU6a6gWp1Q9dlxxXx3gaOl92nF4WMswVk+LIdHBONMxODFXFHGzZ1+yGs205zp1T76yuaMwTeh1I+dx9yff19r0fujJ/eOxZH6SmBJhvCHmzFsf4/bbnp4V44KcXvyS6CCvGOAW7DrD3UOAULk4v2KAzUB+3Q0s+ZYU8jogD9A6iYH59af2BZw0c6bsXdy9yjZK56UwNBD+pKA1mkRJ0p80stLLFzC0k2nFE9lFYU+6MAlvRduajLGpn9TDD6ijsPdRro614F1IuyNiCV0CyWQrkaQGaWDCXnopQuGd6abugjT+yJ63EQlHTCQG1hyEkszP04wOmpUf8CC9Ktt6hBlUpC+mz7WuMdrAkaYM32GFqZmIiisO/xP3mVXY1RVXIjdTeeoEUeVWRYFIAmLf4Yc1EEXicDBSwaJVOVSZc0Nr93YwN9elSwi5xTOdikFYSwh80f0rNpbNig5MsZRmLIxr5cvPktL3HSMVI4qi+6CPEKWcxMYK3ih1Py35mgUGaq+YsPT+HhqO/PLfk+PV91GugTFttBBXJFR3N95LjJsMimIVkAhpih/xK7XH2b8W3uOSvAq5UZgJ+lsroUi8y3MggrvlUfvp5hUqjZqTLRH4DJneuoQ86sFm5Y4pexMLcRDb48loovnYg5gPxLp9OIPpBkaLPUX6NWiLrIjq8oh0A3kYyIRhdIpmywJ3RESEKXyllByg/k7OTmIpxLsNrfSOGqNgtA/h8Q9XMsX2aKc9n+1cr74zuSLPsgPWycHN+OfihUre5Qr3Y7/uyzAyxzUsKHlP+8Y2SZK4k/J7eNMlVM0Yl/N//x+oA3lg2X30jIBQRX15dMRmq41JDyNEo6qEw5nM3EEkTbN8XpWOCGkEFPmSPI+OD2K2qUi0moO6phdpoOPMjJAT6Zk1Y5hI8XZEfj9XhqnQ8GVknMVS4MWfY0wO8ZdsKjkzWlLfAN6QtWMNDmjDKT02lig4QR0uS5ogWEOKnADnd/ZGBedtC32WppjrW3V/SymRHMCiYNXyW66I12ubMMu68dc8tRX0GtMXmNWEjNPtwtzheVZjvEsN5xAQS6u+QCczJN2C/MuoRgxMp2bsIYpYwrlPK/mfMCuTIpJDiVM+u8xTelRXBFmUJmTj0pe7uY2COPFu0np/ScnvEO/3lsuAGlE0nW0WT6W8nKZjhFnmgQCpZYCyyZn74AnN+0WdtoVsQTsxbzAb2Mc90iJ61oFCAXhfnrOvwjuMEjWYLnO1A8Ay66wKXlPXoM0SZhdIzLQqrAptCJwqLdnmeBNZJbE8u4BFyYAiYC3NaYtBLA0NgTnHdU9jZAV/+BsDkvXQtwuOkEkUWpXu0eClg4uQmxzD+/+HCS7REzcB+v8Onl7W3GR24G3ypCyCQeSNtoJUqt118v+rifWt/V+G5JYllUKNm5/hrC5dSR6Eg0cqUBV986Dao3sOQg3FXlI6InuBu5Gw0/cnoKlp/LO2lG6FeiqUYhwFLKgq7Kv+lA/xdpW6cRIRujpHQMH93KG9BmRsxhuRsaK0VdnVmXC9yQp24eY8Bac8gI1dDV40j2MFqcklKQVNOuV8XS09H7nwkSGQ5vlc+LN8nrM+blKyBDcXW6bo6SQG7aY3xgnJLcb2yGQuSiyDErzH0TRrC/nme7+d1BrDnb5H/z4C8gqUdYRCFbR+zIh2yo7pIm6GgycKCYbW+owZfGtl5Pe4fULB4JWmUtumCJrf6iHjnJnPpZldEX6e0qRLzz9hythdh/C0k9x7Q5eI2DEDniw++oyGW2dKNpZ0kbM5LcSApwKovD1khSW8tJztKv5dz6/oQXGHe3tCl0kWYvDJhvKRhPbPmtqQokPc556+c/mTjbplDFy2KuFGlOdzqzAREPj7Ul7TVECiiybW5NSXPnVKn9Q/0K+ArD5SLGU9RIIo0Y3TIAOMwrbvwxW0HcdnwQwc9p7ehQIqmP0yFoH/w+174eOzAXT4E+2tKxGLnikA47FS+Nyp0N7Eebb6YNAZRL/fGHUiyHwi1AFmQphKRQu4s/H6IuAjPtLQNQy1PQzIjkmVjxXJ4/AamDhj2uUy+gd1ExUjSm7DjVw/PKj/M0AfNfNa6AGGn22DzUgntPqHtx8h0VE11dulJmglMoApoGyQh99yX5eQIZrelfbhtY85E629Uo89isD0Mk80fmY/Oi1F1coGXQTAvA+QbdIQyNzCrKLcj4Nj40nBpJxk46iznYqqYUabUOMdN9wvhr4HgYfyrJ36QnKbUDxLoCcQEc3m1SUIcPUDi/3xpYPzdShFidgdOjCFS5A5FbwLvHlpn9tdKZkoDodFKbuoDb3RUOB5dmJxsb1GB2E2O/IgR2YIuVezxOxpXQJFQ+3mQVR9ghQ3cujcumFhoa2SATfyy0MHCVXuxLHVjhGdHSSA+NtLytYIGHJddliXzhKBbbdxd6krhDvfDbyHSXZ9swxfPW5mboYzNpUeFxITdCTrLbrDtD1Rz8vhU52wdsMJsfugOuEFVezNCENz9DeB+GopWhoWEh46Ru7g4K0nQkpF0NV5KuOeWM+oSGOqW2XIS7irjVps+ycv2Iho8eltLCjyNY0U9JjLWGhJO+5L4ahNBt2KMJx4WW+SXrHG7fXGqDRJwRmhbeGwe0ccvn/B9SzAsViMo9ydWBP1Odl3vDj8WM6nsQDMEdKv/E/8JgNmrHYV3/HAbYVyd/xvGvhnuQMYg0ST+w2oab7WRks6ziYZK0138xRttExCT62HE6e/GOFCezUibVlmPGwm+MX2xnlJooI0RgRExrXutA+QbNY9R94P4q/Cc70tzTwdO1r9KJ+pTNrnpSA/J78mGx013wTU5+iWm9Ib/lFrN7gm7QtL+WX+OT28t666sZUNZfOOcX1iRZONH7R+DtmtCEOnyvNUOINW0FNENRzL4rsdFPJrY8Gf5OmlsqMeTBMUdR1tQN4okHTTRRb6Z39h/aylKOE9fGMWZmR70n3moTJp3h9D3RFZgi441L7kXi9HYTQrqPBfo2ksPdN2qMdz+7CHzYyTt5o+k4WCJM127vEEQZ1ZDpMsfK4Fzf8xgwNInD0gm8GYZ7roEeTCfcP2bTX81jR13iB7alQCJTzFT/YrH6W/fTbHY8u+0WYzNM3FupzqpA0DR3XCIIbtCL97yXUIqOl85DXBs2S52HEiC0A5GsMD0+KaG/aIoSobRx8T95jpAD2Y7SXFPa+9gNq5q9mM9WfaaLGlZEtpHiwEQPxpxTstoIgUBfhcxb+SyCfxJb5bq8E7ziqm9vUtWaHApkY/10+JnBtF/G5TSK3mCECpUUTE6MbKPwdJ/hEWvfAmzRq03qb8RfK6i/zsn/RcKc1wmHEc757bVAH/MULX/ezEUogDEGiIfP2+trGUtEYR73Au1Jb2l2NKEVfuK0A7B9KUqGCHZN3f7zf7B8T3UkwFTpWwDNDexHyRV7aSdZ4TIXY11jIxUYR8J9UCjNnhikhYc0RFLDLk/+6/M40qwjDq6K+6tqU/tzLlbSKEqoaNJvoKl/PayoxdFPiMPw6+ZQd4IPXaxJZkxn7U534ZZK6SxO9o4Y4sa8c2Si/7HRVt6kcGuoR+ZMlIXeh0Jo0L608HdBmqtr8yqaBURNNp0S0SuuKXAmq/18FMB0Hj4iXrq5L4Wbsbufm+GQrVNzhfUSqbtJ7von/CgwXtmTsSYJ9bFmBnERTC2o3phDKTEWvMWtYJOMSY406w7TqEAap5g0xGNCa4lsx9II2jox6Mv3H5ey+DnGRsPVrPmFvGnsDhXX5azW1gKsI9RE65RAQN9Re8O1LXuhM2sXdParq3ob+Se7IS8OBCTRd+V4T4txM3A9kwTjTt6blHjtET+L3H6qwoe+k8VzSkJtP0Bv5MIaZZuZlr+8Nnpi/54sz4PmQT6at1bwvGHjuUO+Hv97UDAuAchhqkhRrFBW/TeMlvK189cmya2xVaQ2EWZvmwZsdd/N4AOdv6obQuyQjZ7xTXWP7+sUGIVkW+k0yEhTs+tEiS8gw15mS7/EgQUQTNfqgohJcStISLhLG6hqATn1Mi8VjpCiHuKbVKTfyFo49SNX/H/NtbJ79B9mL8N+facz+Gx2ixFbChZikvnW+uFTYtQuVvY59dEltW2kvJBKfWclbHEWccjMemg0LXYyvADziEyK39qedUqNatXZbmbLbvD6rm+6EjXQdIt5577+0y9XL9Q4wVpDnoKSyfuo+4jkqdQa4PrWoiPsoy52JP+zLXkV901TOCnQvvETvtly1pSk2I/1xSL1sXAx3skW8VELEgblxLdc/XWE4uhfxk2fUaDPew3vggFAim2W3k7mjlsJr+siutFeZuFPUY+2kn+ikjt2boZ2uDePqd8uesE1LejtTGSWy9EMBG6jnVN28IdbGRecKy5QoN88iKdW8EOEz30635QltmRjcaoo9VrYOKuEHnXJiZz5NRUQevsQSB3nYuj3EkR+MtfA0Hck2WM+k9v30PT2Hr0I9ercuWuUP1U85RoixrSh1B77DaaweCsDkzTbgPcYJC988N7rz/MglILBtFWlXu0DrwlBwqS9EfATj4LYU7rR70Rya628bkhMB4sLe9gdJh6pyWEMjGv6ZYBLeixsw0bBq+K0xXL8WerM+73j8SyaQss21YR3RFynzcgNLFQsLbrbc8JtyejdjNopE1DAbfyJOWsug1VOgU5rVaf6QU4P8EQivfHLboBWb1Q87kihHHu83Jmu64FvWVOFdcN3yB1Ny+ZXIoNUGstq+pJ4uhdQ3HHMW64xlhkqQeaimGHAL++CYk9hWJNRk1uB/xUCF0+KYb0ODxk/gPNJXYkaomK+P50VLYtuSSMKGAkQv05uescILhVlXw0N+Rg22AfPtLmlHL4bJxw6WrQsvakBtK9zZHVHCXL240sAuU0U8zdlh0mbcjw54Pf+DDkKjmtKa03acRxyNcevNI4ROkbFKVlHFP685qa5XTPFYxhsRX6eY4Eo5FJNI4MuE74ICPEkMy0zihBqY6GeQfd5Lwj7ACsGurGJvUyvxn39Ciazl3YS7Ktq7T/PoAYbgeZw1WtIHEAHxCSXW0T8Eyt03/YitCzF5nhtsJBtrveiPIxkYPlNC8YEozgSLQtFEeNDazG6T3BnIUIdjmZ3bhyYzWAztHiCu80hc9IeidvbW2LgXndsKMbspyHdquSebblJ6XrYHwT+hbkVjn0p/F72rXAAFyzNJ6/5C7QgdUQjmoazofHeijc5PW3qCl+P+uQ2gGOMLbLJ9ci4pqy8a6WAc+9Tju9ohqd+QRPuYgtATOVRHn5T0A4sRA2jzqVahifF9xOciJIphiHwrIaaaZcnXzyrjKV4Hc/U2/JU5u8nF+JAEceh+ZE87IQY1IoDMvEExak5apbS0bbOhkpJft7GpKy2gliAPeKPxKpB+yXvq0HUTSA35rbViDw4aFHVPd46+eq9a9xPVGXqhapVZbKbdvwTF9vdHnaZkUnw7YVOlVHUNKywNQme6FxYzxJED/ekA5dT5GKx4xeCRlVNwzOlW9nVL2VVuCGzjY01qKYhb0Em5ine/QNAWHCQ25jj8x8X4L0f7Cjx02yM6oJZNmEl9KFn0rj/SeNKfQISMM+X0x7Ft6DyUMXa8RIs6LPRCio+o4s3gi2UIsqCd9Z1aSnEEeEf9i7+NP7OCim8cd9kf7tKBZBW2WJbDmdvGPpQrdbgVM/5+41gPVcwg4whDlKaRympZ6GdY5r6kXd9OD7u0RpVBdTq2N2z76DgW5APfneRZssW5WJbFMzhSaj+ZkaX+GrzFKi/0iI6kKM5XREu57SUzOsMK8IMGVgc6OcWrBe5A7Ye/A+KjRSUZLO4TyZzSpmCXBnwe1e4r0U0q+hg6JUeTk73VjpKepRcyLnMPqLNxNX5Ez06xdqgr7vlPe/rh0kBfYDO3dCCXbhT8jWMLkRoUBD9NuvJ6NhjEe/TXR2TlGzOEeTyvolYDSHCDnpqRXHY4d8Wf6pv+RZRPqXbWdW/5ZcB/IeeGyeM1MgCxJ2B/6mM1F8FAr3yUqaPqFogOZIY1CbjZHz77MQME0tgrAdd/Cwm+tu3OoiHTf8jMtsJ+FnzRoJnCabJbOntxf49IWro0TAG+26jm24aPO98sTsT9A+ZIdxhML3McGTcsWJtlSCeazwnAacwbBOjlO56qTL7Uh3flddO5wJ13F8WHOSK6i+WeF2w9QjUhzJvancCIbpOX7ulaXDosQbkzWncw/Dw+vcz1vSgVqBvK+NdT1DraJK9fW+LnNOL818k5V87VieRTpfNWO3WilWTHMT+UA/8BLjBbrXaUstqvwwblIpHnq2Ck9LIwYoW+GuVqCP1jAJZ5cH3igGKvwpJ+Em/XidqUTxgXmEA4kL7go9lsvYIdzWeyYGlziyhOuI89NAmBXQ+hgFV25UrZSR4hlTkVy5X/h9u6ZKKTG+YXQnmWBDlY2nlRqviVSAtvLloir1nR9P94osAGQfRJ6by377S4Wa+5MoUnGt7DiHR8idiY0AugFqdRYC2wuvudlNY6CnDA1H5DuVK6UvXIoOH5nYEOrGrL4jHcY6ktnGFv9vG6ITMf24BCWaUAMhT/mCS2UuMp2Br3wxk6XFoSr2iyRvCX59IVTZCbyLV208vs7gmTvP/vYmmtjd+yzcNxLJ8AAsQh7QHwTByzOB38irk6ru+VM0BTSiyg5Oj9Wr2f3wBROO3JOztkHsPidEfggIeYrTdx3Az3EDwBzVaf1CwTrKBnnU1Qwy3bYOnFtSrV9ngQ2c2aVjo19WuAbAYeJsTpdFJFTHjdiNcTecEMyOVzQ1ps+Tur/khBDWfmsCAM8AV4JxVZJAC6LPKQBs2zJKWuZSUw7gBedM8HPQT6IDVf4AyFRhOazvKGefGZAI4wPkVXaO47kgGcrlqMmfILt9tt5chwqAFkzbTPpx8h0VdTDAWiQwgg04V+R7tmbAKcaYMpi7owbW4Q51V8Mh0Q94/BfeoIh36s9frke/z//v2Yty7TiqjEuLmhxqjS/Lj7IWpe0BxqJMISnX5dylfHYsE1bWzs8NL/kfC3Gk1y0LWXphhJOntn4QitQbjYLwJA3jqGPwnKkvJXZqc97/oLp5BM+h+Ya3RBu6skEadKLUUIhnoI4Or1HiouKHhdOlieNjylFaXOZ+BS6rFQhy55XmcxXVM6+w79tHxizGZDwmyf55ydbWZw3q9gv13rygUTVvYLDLQpE5qCHoYR8I1qROuqMTnUZuApJ35HP2QG4PfF2RAbpNyUTP4tJxRbz6lo8oNYMmqWE3wtIRzStU1vm1POgfaQpIUT6rDW57YeOR/JENdywgH2NrE6X0riAdoBtyvwuS6EVOHuFVsyitb8+vtvCvwYYSGlKk55MD9a5pPyCZdxFkkuk17EqrJecivFuq1JI8HNOUlrUN5mK8S52BhF50lIcp51xJCcnBXXZBn89eUfPCsi6myZlh8kC0dhgDZsxXxOxnIZBg4glrghltPkZc0fFFq+EmhITqAuLDB0aTUTs/W7pDuynwLe03u1NSomnD08oHB3uBvRRY3oyfGkIwHPnejzcwrcMqH2l9VFBQaYujHLoYCvMnA1sSyGE9mTUCpbhjf3L61gKSCzi2wW6f2OUKgPznwWf6M2r6ArWgM+6ct+0peDI2LPgVcHwhhOEy0pok8T3c9iVEnvHsorqbPJdQZR2U5N2Yd8g2kJA2c/OtfZNUn7T5F6acYHHgyAELDOilW0BSfm7Nyv7Wdfj0lbpE2R3f/fDlXjQjXLvH9/0W8ljvgSh1ZVkQ7WvpBzjLa8sD7jbpSCknnsV5pwOMu5e3kxyPo0tmBrqt9FLMgK46wOFBWTPLEZBf1VuAxNR5zENTjfxSVYMlm0AC+8QK+Ry3/Hn6BG1B1625uM/nyc4PcSAhJ5UYGRxA1bCqGrMHKX4YR678tSv0Oiagvtf9y8dPYmTH855japit2viz6uZNf5X95Cu+q+V7gUal0Y9L+EXxtZfT9+LrZYstFbhp1NjjazvgT3jTerkrWQ5H/Sc8G2LqMM+CpH7YxDqV3lTETXOQPb2OD0cwKu2TrVjaK6ku8DI3ubrnEE/3Atfd5WGq0cL0eakqt7EQTj8XwWOez0GrRQQTZouC4+3OoWQbGYQFnPQ0IaAkcirlWyfmTgzCn8d8YjE+Hl9c6loY4qs/bjexL0bmC7itk6W0fRMfgZwfXG6a4NmKJ+o63yjV1Rd56FWLtmZJhkZkn8gGoTSJRv/yq1FTYFG0nddTSmCL8YFdX7ADwGWWRBXPaPvZ8QnD3qrwFmDo7vTRXEW3Uo5lareZaSnFD+WLFeZy0nPLf6+b2XgxhV1BS6Bm+Zn5OfMHcampDQ5LxgekC6Ea3ZWG9I7MJSS0unhQwBl28qUEa7bQeeP8fl/wfCFOWgURxvlhUE6MDKG0pSecXXYOalh7lOnk1ucHxAiVjy15NmC51K/TD+tfVgCF15lcnwkOGzNyXUOjnhSoCxTziA0TT9Q7/Yr4LzBJ6bEdkrGr3vLmNqvXhRU6pwIEtJ32PygUuWWZeTib5AV/vGtQ7YEz9oSXAYsSv/huMG49le5DwcvrGBFcIhDVU7qV1Vh4ZGeBrzLEtu5Qdwz04/q28g6l6o3SlkUyTF8No7et7tVYP46tL7igAg2/Gqsc+aXfIPP9Ly2PtffLrE24RFy9E6Fmy4icIAcqt8iMw8jF0BD6dC6XpQZMt1GYDCjnc0nZ3mYIuFuFL09JkghrZcL+v3l1vWzKdXUy3v7jo1RzCXXUOlBNQOsm2LvbeXX+BDe7hdR7+Crd5jFlyzx4zJQSe3nWcUbQDvlFRiKvyw9oPAR3xPx9d0yfFtLwULSvixP0o2ueRY220cuweNh2Fqq8qr00HRsBGmwDiaHFxYpIm8YOYz6EFvUYCPUr9E5f2eGm0SVhnZd7ZDUNGh2/nZ8uvcHRDuF4kX70GbdtYpShbte0AhgOLWGZpiFsbGC8pfUK7HTlV6h8XXFT/rmhe0JqldqZxJC6qaTEWnLcfC3/vP8iDPf3NXkaYu5oOv/c5xYBlNJ21GhhMG4z2MwPLL36FYC1v+cYtW5oemJ/izWvuQeIe/X3KNm1sL4UbFa/j+OvJ2ub7gx8vygwd4nAktqLA7QZIoXJsZ/W9ubdoYHZiK6ENu8O8/N1D/FfgOq6HZrQ335c5W0/OM4GDW7aOsJnDaxOneRy6novR3nbteGZuGvdx7vG3AMHOH4igq6W0f9wBtcMqjsr+CLlRfqQTKNrn1lfBlPxjzGfrecWjZp3erlQ37Tnf07zUSKdi19ZfMVo6FcabAPyM5vWW1chUyhrezDzQ8MN9KLj+P6NsKVT7fWUX6VQNXIXJbe4BY4QehvnQIGW6qxDaVdW/ErW2Tq5J1HF54qeuiK+o5mst9rdZ0SCVN9EF186l0EzarkBT1KK/pyZhcx3efYBAzzI00qQx4CtRVht84HwFhVwRgoBJwWfwLwUu53TRP3qMhsXrs+Tn1mInjRdX3HrkX6YU2NZfOEXxEO2RMENvmTicKySwZcOdwHcqpl1fUM94c4fB5dsE2WSkrXt3nUw9b413NE1hPGuVR6/xzd5p2LbYLwZfOiAmTggx8/JKWN9ocdtJW5HqSBTBMXpfwXMO8u6fP2aJ0cMLAYw8HWdqQmXl2/WHGE6PgTvvh41hk9qo9hdoCxxpSiEgmh0UkagKc05+9P8POJsUC3WrB5xB9rfYek31Vhb0BxY5rAbeuE8SLY15Cp/GWb3OAC6gH0RSkV0ZzntpmtZXb+kOjPjG2TuaYEME1lscIaaE8yGFu9yJAFcQQU1UDUVz6Z0VDsbqJDNvOJZkle68DEIybiSLSOC7NrSDbjxujgyORjdcqgdVi697Ib1xgz6Y3HhpZXtEIUncChnZpurfjixvyvwQXxs2xCt9TB0WWDh1gLVNaZZHnkXGh9YlwiwSZi3ky175/zyzY0if9RgDzMJD0unGTo0gx679OzNB8uS31d6ulHQwzBYA8h62Qh+7logHiwWbeW7O3pEgJhUIh9kTefUmyPSEDz3VT24blZhvV7ungaCZ001H4xDL6zVcmiza3NGi2opnHIsPRE3vBFDmM0W4GYbAPsTB1AaRPBykwuU4cWr4NRX2+yjIW16ck49fZmZ1XdLFVLiZIB73RIfdGnLH8MasaAFe7AXzfwLA1G4T8XMoqbarLRlw70yc3p8tih7BZkH5arIp2NhEurZ3l1s47ZRFUO9nRDUq8+QVsCYJWd4Qetb3dgx/jDL+8CGsx5jzSZNmTyMO2IdWU/y2dwLnkVSQmgZ5KwWU9leIxnVAyWfRyMzDdxiabxQGUx5A1xIevKxJ8l6+qVYysHOW3SFUb53JvsUEczqwOezbK8VcYhljEX8N2QJ68QujR57gwugNm3DPmPMrHDOax91wueBteGsq9fg+i87P6H5Atph7Mf37yOiGjZzBCcaI3Tc2PQJis9gmVZkZD1RgYBDiwjrXvUW1CSYU6Lfbc6/gjrR76IgdIA2VRTc9GtQOFWwY5lCCVgM69iK72mdJrh47Cd49wpdLpOdPtxecBNeYeiNmEvZ+vq4D7pQ84g9n9vHJlhsH4y31TeKyu2QpPzIpx2/dz8UisTXyMsmVuojIwnZCJXaws1HU9Ji6ph1K4dIcKBAzauVp5IkT9EM83uKjlWk9ckOt15MPATq7L9bTYOu2dTUYgbp2zOIPcoUC/2YdJ+eB77Fdcr42OKiY5NwldZLEhl1cT1gQvks75QVH7h+jzU8GiDCy4qXEL0N8huVoCIAp53+5Cv0XQ4OkvhlKFN8LuAm7jvYLPZDTrjSG1QCr/UqQE65F38r4qeKSI3E8pnpuM8fNOgLAfd/YC7X/twHd71lSuSVvX53wrdMxfMNl1+DkEM8Drf5TVYkqP6SSkpUz3HZ4Ux8El2YxDMeznHjO1A5J5D4IrGHtmqRUfI+p4exgOz9lQvAbZ0ziVhnwFFESVLpekzpdAbEM1dSBxP0Q7p6l14TpXdHPEnFBJmwj1GBdXW/ApO+dyQ0s3csnVIzik4kg/JIoah6UpErfKl/aWE0roh/zCmabCQOjgOoshWL50nQJ4d4P+gSoALBg6LMgJabuEfGgVTh5HeSlbE0C6r8lLgOpxj+6PiPzzd+jG+Kb2f4pcOpsMjrTRKEWQJxzGQNbptljJXKFN1M6wrz6sTCWWLBo9TRsGxh6c5Nz1W+KUJMvuxsIe0qlnJkcSnaCQLkpmKt+n1QzE4+6EWVvKrp8XA8OmnZtTO1AyplnIyzJdNrnfBT7vybjuTVZL4nYXN7aKaKhQurRvN7/RlH3agALKst7EW4HovDPc2745W7q81VWCB+t9srXVLcFcd1PcLlwJLDGmyZw7LLKSRbFJWWXGOkqwi3fqsduJ/0XeAROJ+DO8nqA6afdF/qX9bNPKaTZpp6txroaxX8I1pIOZRixS+11kgsQOekVBRcm5d85+jeDaP0fdSWLnXsCqSXcBa1tupQfjk+qRkcd7R6UadJ1FhkNzT25Il63pbQLJWVuRR+DkqAcCQebj6JZV+JbIg4GNn5LvzgEe9S5TsXQ7eG8byF8rLLALOEIYtNdXOBnUyXxa3kHM+slsoneAg5kMVrgN1a9dvpnQfqFrsDduteCyu9H7vSSbiKQT4jdwRPeH5bkkCX1XDiXbs0dO0sRLWHvAK1ommGc4pabNv8vWEq6rc12T0F/4+T88whGoNUeqoCwacKFuyROcgXx4gSFM8dW8nZnAk6OwE9L/LQb2VK5ED7cQGXCguvlm3END0xs+lFYP13mSnuUVWz0AKZ/vseg92SJKHn7wSLBq/bdLjMM8C2pgcYCf0UgUBA0kkN4IJFG41c9U5yLz1BJyikfFsDPahknc9VxIIp0eMKMfK+l1nKLXjLHu9v0OzvhlIDbVySrXWXJKXRn2xXZct557Ol7XbBMrWgUUWTxfSXwo/VS2zVMm7yx5B8VP21JmNjy/aBbbCgvfuoojop0nwOz5t++imGU2Sg3msHuWU1arKVbJ9mm18qHRdVJIaW940cvnQ8govi5rcCfKEAs7nWgb0gIpC4mwt+UYzI2G1ZAiCsel8vmTSVJJ9ChC2/uZRVRnjil/4eD3Abj8Px4LNR8Pf8m0/GIvN4FzrGJG2cvI95gZciriVMwpLDrWOaBweKDuFCQiNHS5iZC+PAmciO3gTujPCRj3gZvnMicWzKTTOESuOjo6zE6siJFgMQWckLw+2DXIrh791cNNmF/suaSgj7kfE7h+JniKv6WRoos1VnkpLITQFHFaQ0M5Jy+XnDaUzwA/1Q7mUkFyAAv3EWfmXef3x0cinHbyJ5O0tmT2ZLVBpoWrbuW1GNQ/SQ4nee6NMman0vyEMC8ITMKD7wIm+4/GwzR4B+yKY4uVVkAEQl5M5sS/Sr2hzBlMqissM87V5SImYdjXLVaBeKWW2VvhWYo/KLrvSbjytTEiWFQZH3iBsOgWnbwdVbxfwvNoq9GgAaCqCZ2dCc4+EmDqoXM4/3FvYpJTM2oJkebAL2lfHFJyKlI34pdG7ZAIVU24FKBK0B34DDKKaadFquPeqnI+XCMCbJjuUSkCIxvmYBh2T1uQavvnuM+zJqukSGAuliMcpFIYXWY6ICmVw/XInb2v8Kg8da1Ridz8LGrUPV6TBqAe2qzsKqhPT+XZ7H5Sa/okLQiaRPk1J+/KI4DWbldc8qQuuyMx+6aT3jaeNVTUp4fIDU/OTNyYzXH2XUOKqn6CDUh9v5iP8pt3ndk+9ZnmGcwzD0+Yxh/LYK7DlqqUcfE5xyiXgN9mg0TbRvu8z6U4t4VJejtv8wKA5Uf8Gd3nGl22/VE6Tv1ihrZtoxrI7VA8e7d1ADKqNKGYIBAxV5fQ1bpSi3kSz6XW9lvRc3czO5sUCT1ZxPowsAKqA2yU5GS3SsZS6US3/mDqrVXz+9d2dwmR6cKNXhhVj634lAHX0PQG5B5JPWwDqzNJsjY9F2z9xSdI+FJlcv3wiWMBNNjqy4h8G7eloVQ2BgqQ5C9qWIeUT56l9v39A7brD8r2Ibcp7KwVU5aqvkWRYFaDK1t58vNMdN3dDFuuQpi4hbUJ2kePQChNkgX8/zHaRXUhLseJ9SUo2uq0QeaZFjGWFJLK5qcCjBeU6SOeItrXKE4yl9A73/70hXTmAvqX0gsvjukV7pn2mspsCpjXEO1fgtI1OFyo5+4uMkYxFW1UeSQCf7ewRy1CLDulkYeg57mhat0TfQfZIiiirS8sZw75NJahIFxhrp7hcaefnlfX/cPIDGwgjW2J2CeV1wKYT+/0Hcm4gBeySawTt0egr5ZPCnX3Xf0448loOact2aW5d8F1PGj2UyjBJtkQfkstseyjX0VBApiOssOWLtKLGCizQU7I/rIUO+4rYvMd0GNfyXt3mIXPjOHiBa1pSSFQQAkfacrNkpHRPc0OR44+vPUCK+pLFe+BAcHDEV3cTSX6ofqaQCn2DrXreosCEZ/099a/Hpm9KPKRru2/42ZtmMbByVs5x9sZl198KIr1RbcWkdEbutrdh7vENjN7RK9O26aCxFaGJIPwmG6jy+aQHjGpZ+pUmAK85v/pBM9BLuh1X4k3jFhUhF4PHH/1aH0+nZ6+oNTalYKmLavd5JYhI4gKMIC8QUlApS+eTYALlB/Ps6PZF2XdORqZ8kQiMRzUssUdW8yQ6OtBSl+iJP85hD8WiB7fchtTBCzt7uL4VpzBYmONWQ0f4j6CxEkIgFZhsmw3njWcKttCGj8SnX+G9RQ+6t8Am8F49RvOZlD6TeZn//Fxxhb5LRKf7xqE/VWgA0Rq5oyIfdGOtw91kRbe0nWUbTZ7M7FULPQMDYCmMNSqpvaBlKnmvnfWDG5A5sTlwmxuv6KJ13YE+8d9mDBzCrlS6jPVIpcUsFsFAbRpsJmx+BVtBoVa8I1WgyNS1EKAyAdexEhJ0j4RLqrLDaRlzDgfXjHwsATbAM8w4/uYyGXHxt/0NtdR943XXPeZf9SYOxOAUG1R96vGUDgOX0czo2ctz0PVCDwPQyUckdd4aWLmJjFFFLxs+nzGmOqEuOcH6sKk0OO9bhgI0C8VhVU+j17pEI2QudJPuqBUbpjCXRH0mn1n4rxt5fSu9q94ypZflj8o5Pi5PuedJCNyIejstZMyfPxuP074naPehSyigObRlDyr77YRpMltoag9UIPS44UDKt0EtCUBfa7jfPmNqY6e4T4i5lpF3PwPIIxOvMlD8GdjH+uCJGHFSAvsx/atctaV0CuKlfANMq3fkcQPgyxbmivmA+glJ4ghhvonAGTN4nSzFukEY4g/6fEio8oNrf38NMY98JGwjDzvvi47CbxYKbVI/LVmTdbaQD57WEfwIL0zbIF306/8Qh9QIs1pamtikwBUT3NtUtFrNAraRkj8gNxmKkbbMH9H3i3lJl+v8wrU7BIb3Pf2+DfZy6kCfKER7HyBThoUvBMk2lbiOCflC/47rZUx8mAglpLUWbkxfne1GtNMjxnalffjax2zq1rZTsQ5m643yjvYuriLz2SqTi/PJQtud0y288I9Ls+yB8VTMU5/B+AzXXjhJBp5kRpl2OAqHqQlS4MAyHJi+un0V4WQHSdaW0QjjcepVh8U2HNF7UNe44ya4H3cT5nKeA5a3z1rHiwKyKTGhXpLQmWQ2vyGFssTDjNZ0nfSZG7E0cpnxgrApS8FO6ct/F9JnOsnlQIdwMqWu7zuePo1cSJkrQZJUy4/jhS/fWLzbxLd/9iNHu93GgBt29Vp6HwK9m1wlmXF+xW7EyqFw7e/iWVSbioQSF3dnBORDXnm9BXnplLRPIYXQfYxWy2pRjYHocHYWEOV1U3hlAPYQYJIcW2BYedjckY5XpTJoeNqj1Kiyw6wieAh0j4KBpi15mJusMlsPXA2YI69XFjH8j3Pu8aRqdiE/2mp6Trx4CB6A8T5lfLV5ZAT/pUwWZ51UWpEYmgxEG1uYUhdAc28uYLNo2gg2dML/Fja9J+y8HSRroOjZLVWNoKIJRBEndrtQcZN7Ff7tU26h/51Rn+d/U9nO3lyDPr04/H4XlI/7d8Z6LOkhJBJ8g88uQkvbTHn2sVdK91l+x+4NE/rk+l0pfB2YJr3q03vBHnyOTfyqvLjMFMRoI4h9pMJSFNu2rJ9bRgYPPYY4Z+x1v1w56nBWDDnuRByoeXe4vD429SnYvvU0TaSOjaxqKbZ7E1mf2gRogxSPU0F8m1yM5j5RrO1iwOS934SJYFfddMJEhs+S5l5qr+Fv9b1t7Smv79ZF+SFkV+yGxVPvmDcfqmdZg2aGJ+QLrl06DlBKrgvUNUGSjh7gj2bo9EYxnIJQIb633akVzsLAB0x92AhpW7bxYkfqsDK+qgUfq8vfK6EViENSfDx8nuS+U+HdTRal8A9t6gcl2DnDuX4xc1PnxwmNFAP/3Jj3SsgBCxJAaaPIPst30qcDLq22WDBhttDdhVgpG3fLPXevE5zk7yfTeJFoyt2K89MoWyJU7/JFYmyCPC4BCGl+VDTYCti0BYvTpxMrHqkXlLvaWxlHxEN0YFE9pCX5/qQ6OcgK49yD3trC2e7+IcCoG4ezlZL1TCZpCEp2+5XkVmYfxI5Gww/F8brdtVlS05DkVTjd7fnv0nVRsQw2bpRr72B2Sq6FEatlnqroyJTVcTdBsV+mZ4bxK/pEV+4OlG6KQl3Abioo99lnIwldi8ms50ZEs7zvrPRoa1s5b9LmjS4vo+nRJPtlVF7w0dBtTWpy0SUjfy/JdHzr0TxVlD0uJvTLnm60WS1e2P9k+Ni6HV6d5NG8/HrWRkQMRALf6wEzSGOTAv/tmmDtZUjgcrrmsE9ieQdBs4fHUQojhLqJIcoY6ao+HB8FfN0wXq+hCn6yJCsquLztH+w6AGhORaKpWE5GR2/7WDAXXOOCeYInL9mqobRIbmzhbLgfLVCSE46/gKXYlGJ9kXffg8A6y2D9yPUVsgMcUk/4ze0E2FN47hMTMuO5hsdRSUtjhrSB8Nbe4L4tXwHRmEW5OL2d9Yt2FqHYOXLRbLVPkNzEsLCV1Y3/yDdL/gSUWC9+UaRq8OGJc7G54oI4U0EKL18M0l4FumMUkIrRbRBHG0vBeYk2KCAgWMd5pwPdk7jafU5ozTqsAEn74yRNoWpXM7G3UmJjvluhBxhmCNfZL9MnfJoS5uVOx9TRps/b0V8I2bLCBii6egrpshJLTbML1zBcQ70AvkXGmrw4cDoS0CGUG6IyKJhCadujZq02rUoP1QU6LGWb77SAV2vnLlDXLRPNZGPwiXqrlaQc2dcpwaaA6dBlOerCeXCH9mrdwmDCvFN6QbMegi7aQ272Rib/WUJGlNzEy5LfiwQsPkXi0+j8ZfMMAdIpcDY/ALnh6IlJWW9UOZV3qQzZgC5dsmmdCRVckxkAIh4cRK2S3hEXMVnKU9Pcylt+7TJjz8kuDRkzp78c0TQmc6nuV1Av1sTN0YV/JhX0pWbZ/CPa6nGMJ37uo6p1WCg9nvAe6DpqdGNnqdrxGEIOzNhJTL2Hl3hOVdQ317BuhdEevNBSurDCuNZvccwbNd9HOUsMVeSA+GvtUpFjlUfmaua3whPRp3j6Kxepf0dmwbB4XQUnEhhnhQ1ChypPlysnvXrhmdMy1YgsrlbLnO5idRw9t1BnMlHEPGYHOUVOyv4J+EYSJLIifBA722pcG72HEmlWtaRQjj13u4Xi8L5pQCAjLNIojYeFNIkAIrYp3Y7Op+Y63LiXC/Xs9ZmkWgRDgRqNkopQ9cUqZeuPXczA0a8wf8iJ2Ko/hsX/hdazwNoLMjQedPdud3RATuXNKgO59z285JscfrCLle9DtNfqH7obZ0bqUPGm0uqQix65RD+wybgBrLfh6pEwdo1ZVxMcV5Hgk/9Y1Vnk0FlhsQAy86GcN4mnm2uizzi1yk+67Jy882v2932wqEjX8cp+UPl/dKm6IzZgtniNMK5JWPayPwB7abdSUoZU0IzaxOIobdttVDvxEVCjpwTLMTiHVthMw4MSv+PvrdcMzLghZdNn4GXTR1nAlqkyESflVk07jznsVkcjBQFOKAg+gbjVYHS52lumfp+I6XFqthSJD3HkUqJBvmUo5QMrIWMaI73PTjnh/y/REu+eZprSsXGvpf3gK3FAioU96GNymr/awuhQZrXPS43jegHiLEjvQpSzVocYe1J6cnU7vKg+utdsNazN86I0rNZ+DAQQ9sd3JCB2XllnQ4UvOM7UiBl3TidL1NMZWz/q1mFtJLizK0BkNDbqzkLudyhtkHLEC5B2mS9mTDf4epwI5khhB1uXmb3yt5E8iBfEuAzwXB1iYlx9DUEBXMxW3a5IaVA09TUuTRGrvJXEqkNElhhJOvu/iYOALXF6qwqEXnEMS1fR04VIAIC9nBCfEOD0n2Ryye/Mi4WpvlQ2cSH/uMS4jSvzzAx8l/EbnSZF/oPqwcch0O+BH2qE1cbKCucj/CXYqJphemhqgaFxPnMSrWCblukoHkcWHhixoMPcc+5VTnAuZ4J1E/T7kbnP9FABSgFd3fmHEJzCRjmd1XYlcdGUjHy32YiS9Gj/VvZX8G2G67cedaWxtiI0Eaobhxnx6R6XF6330XT+PupYwiPkAKdBmLDrt6lQiyDSloQes+oMy2YWG405SP6kqMwWlXrcPRHRSDz5eIMz6dkmO32aWCBE+dQIL7BpvOFQfPvH7g71Gzd3G5PHMTJCoL67eiXL/Q48nJzy3ddBPrCCbhNyUGu0qBEzSe3y+oiPS8cwbnIr6jXPbmt6CSyeAUCb5qTk5RUF8QyshCtJTEvyyr571ua32cVMD+BR3DBZN2pbGAImltwC5DtyepCrNvyLdsks0ikzrGvvsJAqlILUJegVH50iMLZPKRP2syWDglYJ/NuuylgNG6A3Y9qIStDRK1iAYMovJFsLs/dFBeyLdxTVULkhrGPdAIvdC/xGs5SofSWLNh3Faez3BwViKoVIG3eh+RGei3VY99AzvDlOUDwcCLy4ZSLqBKKJOEfhYUaS5fDENvwW01wPWyIzO1iEBKZmNLIMuIWFUEBx2k/xRMqGSoJWVeQ4hUrYOvWuGHrnIWJiYl67snM17g72I3yUx8M78uOPb5cG7hZ/+oeaxVGEg1DazsDHiPib9jQR3FAREP/C0r5YecFAWCsleocnRz4AyS9JeWFQ3eYIYNiA6isoXGafjsDJ95vo6myeIWtrsxwdHWMLZ6DV0h+97nhBOLvJ4FuOw2XviKzs5vv6UMx8E53LeM1o9BlMa0IxU1EirGZF8XFHZcGmf2Yj7mUoF8NAQiCJwnHdoUAHjtqHv3icjOTDbY9EAkvZHQT7HkYl0dine/qJUH9FZK1LbhecOxyDKyeP7ZUghq7Mhr2U3LXJvvd0/YxxjIHwNiOsg5WtAlDgjMM3BJZnXxiRs4pzKPr+K7S+U/yq/uRLDHhdFoAejlhes0MjVI9MFqMlRrJRiXXpzb+3emHlFTZNrAefoVrUzMwbjH0artLuM2l188OFSDlf55eK7v4dBJRO5TdoV92HDRYc/5AkGTFdc/4M95fqQoZofii+Qa5az45836QJWuM1WLGDpdpHs/shtSzm+mX/BXSxY2aM6/lzxrkKDN+ESzPxb24VZlZIY9AlkvBX3rYkj//6Y069kAomOfvE7VL7IjUWVASaIyiWnfZA/Sbxbz/bz6KZMnrvIw66iQLCOoYq4aAIE4pQKZAN39LEAuJSjB0e36RBP9+hJI88QdhUeJnuW7sLM7MBW2oWFsMrAbs/Jj39lQZkjAovudTT+siKmHsdnM5sZKus2wfMWHqHw2KDWnHA3EIvtwDy+bAfd9COY6gntRYycT3ZxhntCN8g4l7GcrcKVUFYKGKY2UY42WrEpi7WihO6lXgPj5537vTx1OQoYjhybK0eXGwokLGyazTEK5bVcwLVJE+KAhyfiTXDPxSBlg8jXd8YVOz65H4KXAR7i1jGhHYBz4OC1R066ElqKM9d95CFi0vOzG1EYBOi08w+iZ1kHePt036ReF4BNb7bTDzKg7V0QfdcJXrW4KeeyXrYk3qEtfQfy1rqquNBN32awRdN6iiSaYRpAZackRsZAME8LmHuddYMxn41SPm/ZoLXvX7gklEgCmroQXx9LjGXF62F70kJ1nUB04c10wFHZLM8fRdPoteLlYUNfdGaMC1tR2ys+78H6FjbZcJzoMNfniFIctt1wDqVcDC5oLfJ/CyJt8fVr9WtEAFUBVTf3Y2xT8/DwIb3he9ULsuSOG8PL8AbDxoiA5YIL3dfM1wuMP7ii3mti4O2irE/hKgU7WsrAqQsqgYn3roFgPNj9uV4rU7KUpPWV4W0S/Yf9w1e13GUjWWHd1QRydoM5sCYGSCeI6r/JRYuImnf1noB9PFFAJxI4x152eGe0nyyzby+QrZB7KpJD79XcIlDFd1NNmCZ6IiS2TZxvmTOX+Fw9vhLvUvzHFqNGWGTSr6DyjE2oMcJ1duQsiXQ0AuVwTcCWSb00yfY0IoAOFOwypZ17BGG19qb+CcREMfLC5SNBaJP2vIxQu0WawAXcXCktIB42j3Nb0v1C6BQkSvEBVZfGnZf4gWhZxOdw1EOyMkfpjHjGal9Bid/OZ+kYQm2A4z70RPMNT9za8ksaYhtILyndrUQHbqwW3c7YU8tU+Y3hzTW6FJf53uJ9UEfOiD+94YymkzyCyBOgnpBQM7hrljopYKbSPNX5qhlQaMuIcYc7IqJOgve1J+sCk2p6kFsJ/kPZQrfypRUzn7sk41OFCLoiM9yVX+oJLvvcbS+ejKZru6sVzDnaJOn1TijD1npi1lVxQ3jFxpGKGLScKPKH5UpyxQOQXMFQQUX76ztLxNxTan5ypeqlFiGWE/ZA2xcsIvCPC7dLBmcbPf3FVg6Fu0PooxJF/eZgkAJfiCxgcx6M+SQ4CnXd9RdmCXZutSJq2I98vXzTuxWsa4lLbzOmzTEf5cFHcczyoC5LfAh2GqYyckGEKwvUa0gnSMiCN0gC7hJFyX6pNNcXwQWsmvZro88/3I+iefTBrIDV4IzuMWX5RGjH567piLQyNJYeqQxnNE7libYeLuFgqWt1fqTl2KhM8W4sqQv7wmEf+GWTu0Y8BTd+Xgcm/G8g8jZDIbo2VwTnPLpiy03S+GiwEm853/jVlHsZOSYIKsOS6OcLGWJ7P+SKkoQM5blvLFDfPO75P98tY/6SgJ4/aL39rMoD4G1BfdSJm3WxPPXK1MhZ8FDj9GVwYDLpo13GjuYoipjvzBjB5tPjbWVmu+Op9030OjHpV5SaPLNjlZlhLYTKZNMm3MM0N0xOv7cEbAbyxf26MyyC+CTXj3RBng7q9Aaygu7At1g0qCPR7OG1C+dVZ3LY6wQWfZoWC71wDWJ0U1sYA66RGjvENNgtIRvzbyVWvRAmmiH8MmsfF3QPey5uhMBeL9DXuS2/U0cEVuqe2ZoZ+y6Z+q0Bu/OXdKvv8TctRMgl25kM/7OwqeyjCCHPy/3+2gF1O8jDuO0XbHK3gPCb843hdt6PD37vClXyix9rNvgXv27oUgw+/DisesijA/LnxBQ6wcWqkvLqZ6FNmpD0ITJAdDax4aiVHWyfzab08brZ6dsKA9KcPjiq9m3Zdv3GRCMxASVEqdx5liGHMlkm3HgfNRg+gsUgOvGe+1XcyaLPSeFg79O8SEAHw+76puOrF4eOpFX5LOSX7ocil9adQKYrN/rn87ypbhB3IV+1I4bvke9I0yS3qh3lEXme1hyTDkPFnmSARe19GD8J821g6HL8qIEF56JB8tSV4RLgYs2eCBYQ+muQiTgr12jj20kUb9ShaTt9dVdc6W7m6sTAmifdfrxemOb0gePX/Zotb1g1l142U/GTqZkbIPmuNkkCnY0HSf8iCKkncmqDMIPiao2389om7xe5SzVvbST/O2jejnu7FcZ0URDN7xTPDG93dya23YBGXSVmVMf4PRca+Sxfs4XlxFv7gJmsLHzQaJF808jVOKEO+mVgFkSx1cx/0thfhxmTeSvdLzUbc9cfHYT99LV4ETm1S8LPtiTFPHO2itUwX2ZJC938Hty3vEJcoIHQmtj4qk5LEQ13WJ1uSRZdnj2KOMRFLpQ6eU7XcbWdh0ueIuN2rrfSSuZMHj4NQ2DdXZO4GUZZlnWmQJ580ykakQMZkptCzVtRdCu6V0CHjs0lsmGn2FzD/IkX0OnaM/Icsw8bAWHQliS0yjix5ClqHmNDGzN3bTvcU1FAtIWUd5C8ghTkURegAHbtnpTQZsbiUBUicXduAFWxMweqdm7wix4/0kC4ph3ElQpEKcak/IhyDtgHaqXLntNhKfHpvBamBR6fgNkD2wuQhli4yUjw/YTFRa7HwON3tL09pHjRgh2GaGFXqzBTDFEz3h3mVV9VzJ1MZhqygztwx3TD2A4zgebCRF38Ikz2gxy4QasF1MtZL92+0C+Z1i4KtrZeil2bAOueoSnk/XCjmBRStJ9RbWDPMwzT5mtJfOaG3bsEEeZYFRea69f3Ft2vJnkDb/kwYLZSq+8xkdgeylnFKnEWqrEG7kOplUfQuzhgw3XJjYO4AUcci3q4N1A2OGneVYPDY+5KF47BSjtOuPMtANrcF6taeCNlz8EJ0yrnRwzOsRdcpFQ1pB2qg0uFUHY7qily68KN2lGaVGPXl5XWSXXq0nZN/6aNBwpBRwlAx2lUFw/O0BRM7mia1CVN4xsrV9He4OwveCsxrv7zyR0NLH4pve9WnmAgL77cDUNWjl3Y9CBo/pI1WfSjfsT32ebHPdXZLBrrQD5D9EjbMbyWjMAuOA3/giaW5kbW6IJ58fis1wTed15l4FmZPf2qdYPlRXDa4BcFuWqROPM7rFwPkBV+YVyLJPtFxCJag83LQAzbifHbXZoxF/AqsZhYjWP6hJ/4jVaePHgxdBGXoDfOeRWS2JiGcKeMfUilyPvGG9J4Sg/9VKw+mB031of1I3E6uFVT8n22g52M6eQ89UbuNxMzOhUV2zHNfDzaIofISoGgLU/jM2qYklF1cCgigfSjfrTIJB0BWquKv88d6li3f7U6eFUqw39u3JACDnivUZmgWrxCE46O0bffOoJ8lV4oFrDtX/v5cbynGI3USrxITCq5qmZ8ZQRrVa2TYa0h8n08dFJj/lcaZPGBYgY10jmueLa+j/rnwq4NaA2LOtTfSsWi1jEvVcHuyOu5WvRf6nwenZet7A9FRaFAe99tHT7aQZMZ7hvT/P73JVRkchXYjSIYglYqFc7BPyZgQgZ3UcdEyn4X3XIB/+29uODi2oNjdhsgkcRF2kOvjLAczVyJvnpKR8cHlsLt3ujTPwJg2GvL4i7LxM1qy+4hDfwGDk8wHpeR6+oXlR37pAV1Lmkb3kor2PwfDBkH/TglGOjEl0cqP61S03CTcw6yvy4BBRjGiRQw9OKZ+ZcntNFaHfD5zWofjV6lDB3nd++9rs/Ie7Sj3F58C3XVSfEDBqYQYXNovybRi6ZchLTKiGoQyJ/ohFQQdIypae9XMxiaIg/gDLidVDT1hY1Nr7gbJJAHsqsrCa/NECod3VN2BFIfg512lHJ5naL8Fw7PENcOWwh+DzVzxKFKFbM13xeYmvch2+e5XEL/zI6NOqcXMXW7q+MbbVCBVeHRgC5YnynQK8kWTL8iTVj0bk2jwoG2ulWwu8WbOkB3y3nummPS46PV6s5dkcGBmnt9g6omThSa6bn+ebdlU9wrjGm2QmS6/yGTFWrrC2D7Y1QpKzXNYNHGEhbCh25UDS9hJWseaZCAZf5VtjjWJcRjbe3a2ZUS8jd8hNuS+BhwDmaf1TuPD5/m/rtIswOshlNiBZTRjv1f1rRtGU42wOVa8ih8Ef7agbIh591WltwKD6wi3DY3HaB9r3QAGkGi4f/inEz8D10qdh7YrWaTdK0+IaHCj0TCa5Y0yK5DFjlc8S0w/ctXiR2JYhiWxihJRawZEDkmeD9fHxHcwjnlWD6EUXQK+ypQoEFIqkyfUfBNTdASEgAzNwiAcCu8HEwNjrmu3j8JkNepV1DHyhp3PSCIskzrKCOVJ6kC7eczqP0ICJ+ZyNi89Y/UjGHLCI3PH9NheRVk31DThLoFgwkDGG290t1GBFQiaJy/RWSavUNh+p1UI/acjFiurZinrEW27rCEPerGCiV7lg7s+emjwqvk22jBJMseCw+cUsdNt22uRZFE4Lb4+7VdmIAB2NqByZxVO2yi2od2Cz3IvwnMgPbuvGHGzx0wSuyas1kvMUM6ePpCsVp8XAQ0v8FAAHCRJ+k4lQ5g92zKRFnn5KrlNrtQ6+w9ZIS8vBvD+A0p+ynVcmgqQo8h+JUB2jwFmGbit+pDOReyqeKKturcq5YczN2pE8/NV83j1Jo6PhdoadXte350EQeoWLsFyTiRilN1c64vXO1v/cXXgexpHsu2kb3OQF6jaMtw4JNWrw0e/sZd8jJDTWMVhRorETK6LlZQ+rcQYh7vUeAvxpbURZSzdSltWz/+ZzReiF3KGNU+Hu/dLFQtCBqQhirQXSc+XQrCrtZMrxrtTlIUKh2dG3av1NiDjXoxWBdPEbjNh1BhGdHnWgiJF0Eo/t1w714pp28yYAo4OO1Hftrbfpj44KNh/KimKNZ3zCJinCY7ujEPndlFLJ+KL22RZLRuv3mue8CmL+RXUntnDZq4xft4DnKq8TEeFjtKMAYJbFqXgAVx8DdkJhF9siK3al8QMaGt6IU6i4XiAmrngthLa+Jru2fE+BBHZ9ntto7OxZkPH9SQJHXI1z2RV9vcdQeoeNi2qTVPLtYGK9hNgkNcsse236A//TRy+X+Vj0JH+PNyHLiv1keEQLt5cwqyU4od2nvsLeEkMYE9TeAFbzPhq4lmZJ17ou18Uby9SZbGM+nrpAzpL2zu5FTYW5SkKDt5u4BqnZfdNYA65/Jq0S8llXXI9mDtX7fCqnYi1qhwme+N+cTMyukNhCmfnT79PBQiW4wbVrNTqCzuu1O34yzOBtMYBCT1agxugntRQglB3hU7HzPDMEY0JI+MBv6rUA3NGS8IppbiAr1JXSvG2Bi3OoHFsSSgn4NEudLSx47s/EMhLACesLrFTJnVLRRwSEuLd8GkHfS6ibs03Py43CDNC59p5tjSaGDmrBPGRU03EsmypG3ODAWsCIeQldt9pY7OZvVdTTA36qDx6/9oOn7MVKGOmnJyNW+vpodHivNCUxfbJKFuSSlRgIjgT7EkJdhs+4l+/AJ1PQ3bfQ7ExEXZjBDQYrKjnK1zbk0K0bENDXsrajMPuesv7ISxmaPAdEFsxbLkLVv8jYzCeLNSQMR+uZyspKu4OQF4mFMny4OLRUYenzIWQ2N2kNqDNt0iy1xV1HcZiEYDlhkPLfFELQNIrXpMiS4d5UXKlrOFcT3gt8//Ma5VMFfk48u9DJPvjus+B04bhF0oYqOMNK0mfXJ3p/r9+50y02nDrVP4c/4JDTNO/1vvHKx1XymWx0PAMj3D89vmbv8cCEI4fqULWVBXDui2KDxvLABxGBl3WOttamFRn2K51Cy9Pw3gP3CCbwnc1Ku1tU8RUbrAuO4SId8SmjSaDsHo6NkV+WwtioPd7mjkJxfOdv/q61+GZQc/DMvrMGKyPlinxvC5uu2nBdqc+QSwuuw+GTnNFpS4HcIz7d0qPiSwPAt0Q/hlfdR6n6iYmyGPsyjASkCRU00SRw13NGIKAG0rpnVFg2PMjoskBClOjF836KAuq1hh9mp1ArXjJt3gBhay8ugJ+YhU4AsMwcOt9Rt18qQqiYeArCHaHUaH9TBl66m6gI5Rbyx/eMpMQliwTw2ftKgMvsDcjTH4W9oRLLhuV3f5z4/SpKDdB2xFwyn/32Y8BSevte5crGgjL9tuCiDPRDVjyaGkSkIPvSIr8aBGA4E+q2EhtAxyktqn2O78JMFeT2QnCWKEp8I9AvGSIrh/D0u+/qszoFtxtXEtwbPQi7b5hUW+RlsTJUwSK/r/9gSibCrj7ALd7Ik+/phuNvspL2/5IE5mjiLx6JO8+eAp1lAj0webz0oh5q1zoJyyU0H0n4Dv/Lh7jBBAAgVccj6RtqJlG+2yTKZXhJpFy9ulghpyEv+nHcCosC3npskcM7B2ui6gOlz0IA5nDu4rEeM1gNYRvTVuw5zmumLWi97+PL+nWNdPGbIbDaryZ8Dcs18vCo4MqkjaHR2AOTQHuaVFKvwSTy6V/JNMJMyvOJ0fkTOfCwN2lxqTHUWOoQp+6NWE54DJzt4vU03mlMfGRyFYwuTbzMrNN58sFE26HenMC7ZMUFMSqCtdJbwouAuHNLYyvJ1d7OphQr/xd2rXBj6xk+yzdDb+x+J/Fgz7iKhiULo0oU1POY2Iuv6fPEzbNvmy+ZGJGr3W+imFEa6Pyz3vUIwcUcltxs/CJhb0Ks1tKD30lKOdW2isBBH5RyQx9oavlLuO57zAAFXlRBeu8T3LCCH8GWjJFsxCkS1txOcR4QdlvhmhWk0CcKGUQZr4EynmTzCD2iGK37F4zTKUxP/570bfls20pxs1G/qrvYcOC6A2vfnEqodvda8C7NTCyVdoTkPt15ujPMRm+Wxms2Iva+O7AcypJrA/G74dBu1fqOjsObJXep79I+SVpZTY9VZNPKGDelKPX83965NvcktHTWyarQgt3e4f6ipBKRatJiNe9+l4/qk/ZjPG/dbZEyiM6cEXiOGZ3cj650DySZx2f9PPer57ymaVDONJ7Qr5Pellg6JsWHjpDk2mBVMkKLSLPUHapNU/Y3f9MTJbKRLsO/+mIbrAggs+kOsL718HkRfdFs3o5z7nVJ7qemNPqMhR1+HYPQYuK3jTxRL6DasEtCthMIyeO2Jj35LShcWmiy55UnCJh76zQ3OYoy94wN9Ph9mbgmcAA+R584cffVaDlJprKCYenNBGyca2+NXD78doLoF5ExUwvSiXEUBDn2RstEZLp11T9UEKXiu4rjLWndzBYtrfYVoVdBqqlzH6J8UrvsLw9fhJJ2O6xAtCoreKVUZ6w/62My524mxRdqUD5TG/EOHhXMRrXyM8IQzEHxChXOmTGIlZcD45uqj4j36AhW5c1OJu8v8nr5XoVlnGqkGG/OPa7MUaKN+KAZ3mg0F3MXIsUyjw76rN+hMPLr8JZgkpjI2bx+1+E4vlBw93xtDoNvGfLcSx1SM5pnsHqCoXEMOrZ7hCnojSIHeQIExMB0ktGT9FrUdTTmZWLcOxhLTXvrRw+l7DGDBTOpjgGE8acUm2ln7SCjFj5LKYhdzLtiyhvaSeEbRDp24l3XNl2DNGltWCcpWzb0vQU/5gpOUSuJlE83tkCJtDI3kiSRt0wJw6VzfoX11GxSc0QhcWs8HEq9WJyTj8btspjQYw+iXF4kPg0mkltj9waYmiMltkUr7CtEB11sLM71p7cq80MJBpT1olbc7JopUGUTTzG5Suq5No95XbeckzkHkSeQV4jKpwY5Cf8KclWjJhufTvMVEXNe2z+g6YUD8ulWUtCjtRNYYxyyzhJ/1rHIJ3cSHyu3qezYl+l+8XYl2S5w0U0wvvESes+HjWAXZuqfapqRcxIOYml0LTKtX5nQ9lcNoz/xWHacyUij7EuSKtrk5G1sF5BKYu1moq96HCj9925NL7PiT846ypLaPcrxzpsPmMB6InRcx5zXbX56GKyNAn6XqfmDteupmuN+zHYbDY4rkxC65QifafZE2gJAcJw87Z/Ee7LWcXcR3hTaXrogH5WJ1qHdppFhVTfLIhUk8ob/c32x+71cGo3rKOxvbk5UMX9vE1W859F5XHocqFzZBv0G0dMnOq8QFtlhrFJJQIRhhhcjT3Mb5Ylwi9abX7VtpZHo4EYZWYiZVYskzr43ov/uvclC872cxlgDEd7u1uUA66Ng5juR6rpGRZ14tCKBKOXavxrAVZ9ztMGF/D+QcAD1wQP5ZLG0SRK0PkSWT0pDBqiyedGFjQotP6ZGyFN1ikU9iNVOzatA4SvNMAAzzPGNfN6y+PBrTWB7fRtxZyvd09Ro9L6oXB7JtDOxG377yKNwFsvZgseZ/tUflOGNZDHbhmh86o7D0sb4xcIu1zluT58E9ODRGtVgbM9AMJVXBnmPSakRWRntjBonDlrpOIBwyfPSPBJ0x0dWf+jA0rxRo4uhcubMb7TrOCEYhq7k4NG9wZMH5QHvd0zvhDedY8gL69AnzTTP3/lScBBYuGdds/sVRL63q4Pelc+MW2OYjutZd8OEKxpQ0M1AysbM/jL9cVuqE8NCix2GbTy7t6lUbXEiijNgrA05XC6x0bgR1QKlTPdxVhiTcQfP3sOotCGo94FJ2lv+0Cm/tizBiTdt/Mr5NMm/VjDT47Dou8Xxne2JSlCVMlkg5lnSJiTgN6zvQD88NnQJEjM5unUBDeFo5n42oH6PEZAcn1bHQCOLYKyZ+yAzGq+9t+v/UY95SrKqHppVX3bs2G0xE2JUKPSSrlvQtpcOF32AsjIKA6j7R1CCv++GwgPJiWSxw0KwJ3OGFjEcbzWHq6dlT6MOelnV8IMj49x4r+jmdmZUhC1dqeAVSlRE9nYGRs0bUFUstfHtkDbTLlntmqd5RsUaXgkijdq8JnQzGbNTX3LIP89OQEOwFogV+qG7WPFFH7xFHu+zqrXONERnyPQ8r+V2CdVE200tR5uHullfhmyEUQ5dQqOSyQ3sGiTIGmsN44vgiq4+B9OI+mRH5eQx2+2EhKLwPay5h+ZZgXDvlSpNeTz0IVdubhqXD2XecoNxB4V4obSIUtlhRtyThNj24okiW9NJGRvG/n/Td3SkSyOHLk3VwLsYFW923Dy75KH4YO8pqCMU3Xi0u9RBlDIMFPCTeh5zxUcyy61IFGA81SW7frvbQyPOtH6vz996zTEOu0iycSRVWux/Xew+RUl69zv4mJN5o33GSPaopdMzvx9vdNZoGsCq0rJLzGvvok+s2scizIK652K6AHdb8olK5S0NQ79AWgZIOdckob63SAwShfWIr2QZyGm4xqUwfMxyZUpkDjY9xOjp5vTtaPd4ShAXVMyz+KJIhFukH66AxEgZEBtnIxxu0pCAlKVZPFxcOoolzb27GzKvrbwCAWa6ZDHY1LqEz0xIsKzF+MBQ+3azyhOfidSEP188zHhySA9SAbF4SobrGuAGkfZBuFPetcfpebjEsdv9AxmqO9kTQTtPcfwPp6s/nykVdcZjsXd+/XmxOaat4CkiMrj36qyDHLwkOtc99nTWHxgonk3xpwk3FB6tpH3BoCJfS1/JJNM1Q+W2JMx2pWOy8n2IzxF/9oP9IvTsLqHnUoHxSuF3PrESl+++CpbDQcmyZ3WfsT1j0b52vlrjdKQHAkE/OKOM9iS6tSDACCDkz2y7JBNaEi/qIIa7yGjxMaNl2IMyW5qdqGLbMF7w8SqqDiaArdK7v4vB70JFPPeqXPQoYRbx9Y7wNL7bTqGyp4GJRpo6Dce3LjsOAifJw4v8RMlZfVlbJW4cIUgFHzQCjT/dJX5D3Ui2H45iKY0GEuqxVCrq19urgQXGvS48LG2dXj6WJ5FOyzwmAKy0AL3btUuIi9jTYMkC5Fj1aG6et6eMSRpvkhmbo1MOcaxgC4+S1lBlFRcUoVmbkInL77W4srZYaglmis+p6l2J8yNDp8U9027mIUXeYxSPwO8lDp8xavyPq06Puqls4vnA16QW8WwuznLBbNZFX/AUqU2arSRUhApbfTQ3r/RxvL3rItNzDqb37KyNXCPwVfMpO0jj5Sjh3GvQGKcT5ODOxdSmPhJpadrcwb449y5/6s93i/uxRJOzkIMCMDXyTgXQqkHMevRGlbFA0wsKAc4E7VatyEh3JB6wcd8zMXFz2IO3RKS7d7f9SScHjjXpKZoqn2nYVe5ThPidzPtKsA45qk2D9fXysEBdbPUPep3K7cIDgxCTLmGWtuph0zigkU1idqqoXkqTZI1DtAHHelZ9I+7/Y5irGmRkwO1uUwjI+o/hxhdvoCO9QMJXlUXGoRZBEqmYlGuegLy8wRY0Ti4p4gOSE4kPNzpS1y5WbJw7KqGh81Uyhw9Gf+147am0rrRhH8Tv3JUHNEUhwHpWrpsHFCSsBrasSNFVGjmMOlS2yaeDjR/69VEeyxv4tWnr8erbFCE48X7s98Z2jpHfEdroztXYOHoCeqyvOllkFIHEoyO5SSQwzzAkLhoY4SUDPuSll+H+N6vgPOqI3HTkjTdJ447fiX798CzyqHCl2wVXbeQOIChb3lotDarKaZLvyweryLZUhC1vZ/0cn3LEf1VT5suYKOoC6DDs/Zin39jcFcmE1EatoW76flECOrIv9myTzLtrJnEszI/uhvOp4YYAQBoOXMBxp9dWtwGq6TyfrVsji0PmldIULPALjeyeo4yG5feKN9u3OteEtfVryBl9dXdouWJXVpuWPlpQ/Hyocw/t2vVy9c+FKkpFUZwNph0cWHqE1dL5CWNQjefuQThN5715Y31ldNI7TYLs8+pkl8Ut2c+b0emndhhT1V9X2ym0DCaomYdncExauz8khv1mMA/5Bco1GMCZG+JMQNCpSB98V+jGhfR//YB+6v3ptps8EroKuGhYaprDd5LjiRd85LR/q9lPli9XaK8X8fmfr7Q3vfd/uTeOH4BCJw/1OUerBboLsfEuIHv598LQC61PFTu4kiV13WseND3n2E+oFk+Vrmfw7XgvaU4JAc0zcjEVO2+Xp75YEZmTKgoD3aM+XCZ1QuHdYhIMbKZX+Uxn/GpslnMfNIpNTDG5Woj/+DAnIBKG8i5l9Zhw5RlXzKbx6Xhc2tCDjX+n+ZKPsb1nBguykD69pLHO0nPJ19J42wey2gAku4FdUWHD/lldGqpMjsiu77fgN8dkl9fnyaLzOlnWkcUw6XGVrgTGvW18zWPeEqsu/d7OAlmGmDv/rCoOF1IgBcPUxF3CWt9ru6fzLq0Uv4n67A4aiX8QexZpmpS+AA+kH+A3/5WhTrO2Y1UFnqmsR+8ZTcLqSwhi1NgofdsF/b7y7IR52DCjKulYuLUrvoXQgtdaMs3/bV16vVLanEXz3v2M1B5/Zc1hgGv2wC4W9l3k9sPk83BAUpHWE08x8/XGMWREsEfK2nVbjU5tweosBe6caQTZFy9kKmIKo5OzQ7SoUmWaEzI1WpeHS9qAbYJskt9QovJsSDU7CbhJC72A/fTudADJ5xs/bXTGHmYAYAQfQVYFh7Uoc1aVdlPdeaj+IctNYSXt4RIBtrkLmFavyOrqx7SdoEqQvxX3jtsNifscBGUkxxYreGO8eQcPfNCy1GcPIXOmmvpBf6ra9Z+vqcV8kaUwXoFvnlSIja9bU2be9Yil9VsL40qB/BawahScV68/4EUb/83b1GneZylh70BmV3eKdotSQu0sN0aUSoH1z5VS3sDCeCHbuKVmNeoivogxJdGE6sx3si3D3ILQGROu6T6eiEhshwLhasJRWEYkNGGKx1Z20VYTiI4k8uPrzVkrYZ0s6P6HUifyTpz7QXqofCRetjXCPvrB4gGPLdFXdY6Pjc32WUS51kCrYOVFnFPyZ9S9OqCYMtASw0MFY2prTjLqGuiOl1pL2pIG6rw1SrinqZN7Qd5Zi2s99Fn0rHru0pNLUFeI+Nuu/e2hUCUoVe+i2XkauDZmuOl7a8bPBi3snXffpLpDXuEU3T+x9gQg/NXVWSedAq4deoGbUcTekAlpMassPFZ/ugIGZ1hFIJbNfCBnHtdnTbC1qnM+T6XxjSnZfRiuSkrEbaWCFXa4/XN10C9qTwYHPNNw9kn6GTOHJ2lJXqtWTCs/711YYCbktR9ab9ktgselHkgfgYNXDF15MDM98CckDBuoiNqE2szhyvFMPOI5qOTkosyNcf/9Mn9IecrcYEJXoJb6k3d8IO3GOHb9Zsp321ZiQad9EhrAOw0D/hq5zYtOeK7k7IkNFcRZbWDeXn3H5sttBfuI3eblumlANHiPNz+LId7sAZRuaxIYlZSJbMB0X7QxkOu1N98oQSeYLpSuaHaH5Yzge4igjrjgSXHbwNYAmcnOk2MaKp0h9jO22BNYEzncnbRP83JSTWINcm1vljthTKw/8W1sORH1UKQAm9IS3C8POz5zqRpXRsM+EgvkH5BYq/49Zjbc91eDiDaCqd3ATb1gVKrJihonnoDSfZNwyhzonR+yIAO7e77w4fhcTmAsB7uEmZYvlcpgOYWruxHs90VvkjaC3SxoFv7AKxBMk0K5jQC2GVoaDSNLHLGzPTSWcj9gBqSRv2TJLPyIhgdrY1Cb+7O8jaGp3Gp6zhgWKlBHHHcwmAVo1MVyxMGXl6NtyD5bTeaqhlOy+sevlxl6nPbIuEKciRQYfK3LJ+kI9eu3NWviqjzfgAp6saleO0SxWQMzmN7OM6VShDjdir0sIoLGTQGlymBdYkb0zmLTgxrurkTM2ALaWCnJtkaVLsQ49savJMIk02OMlDCPqUZokjBHiCLQY804Ue40X/inheFEV1GwTzrb1fQ/7BxkyO1ofO4Qz+4fSA=="/>
  <p:tag name="MEKKOXMLTAGS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qGj9ORi/EaBjXhptmFcMDJT+q9GXA6qm+Mbi6vxTAUD2XUGt4SbUMuWJ9vlduointcwMlprPMCK3tY3BhXlvQw/eAa5IY0GFa+GjdLIRChI9Yt+JXyXkn5S3+QdDQYg+Qe7+csNq6R8KnZSFzsLz0m9/IBUcXxycFGNZINoUYTU2Q4RTTS0pMCZTRJmvsxo6VwhV152Y4eoGp85aVhP3rT7O7dvQuU/Y9nwDhhBznJYglnMaIXr7VALUJ2GPMoGhYYaxDnPbtT9/dHYbL093I5nK+UmQ4z+nQdTnzQCVXYF4tkZxaHcZDi5H5bV2xeSTJvqGWY+7ZLESWU8BwVgXVMNDZeWWEJXZ8jjLvm3Afj8C3OWYcv2NxK0w3okxJAz1G11qriGI997jEmJZXzNyJ01HCgK7NhS20qTfq7vzuycagBj65wyXN1gkOcUqXOzxwNFr69aCS8Wp1E2D0DZHYLLn169Tkq/roF/cwPmPudWv2FenzE4ZGYLDDJg9OC9pdbDsJN2qd6soCYlS2Y6gU3uwmGND09WmHkgac9N0BPCTKzbpx+MvRuAvIyUvqhlSVUa7fYXmcWhzFgJW6I0KscavcDRZRUcAYuEte40aHKCvj7E2tFLjjXBzU5apTItWbTv8xhuuL8T8ow9Hm0pL9A54GgB32nCHLpKyRt4b2fJx+IHsPFgpoenmx+7vBqW6/v0JgcylOHkWfozYJ6ZVFZDDRN3Yx7o0ttBmMjncd5DbOXHNUg+VvHPNxvuweZLGbyNlDllYRGSIqdhbxkKypHinDVTy4LFB7bo2VjXKm2AyrUP++bIHjMCBSjCMaoecWzsepLCXwbjNdlBekTW73zmwxZWixlNcV0pCrZ9anEeZIlgh0NgSUYvNiL0dbQmyEnW3Mmpy06oxq7ZLiVZT//EfYSepo3x/IMzz+RmZQU9LnrPe/RGWBUHP5N0lNQn/N7LURZArfZkeHBRaBoGb62Xifd+wMTvr1j6ITrEDgdDjEyIXyWQgjTmJ9ipDW6jqgWf3QH1P5iGnBDkTw+vhQQid+xdxfD10vYg4WOL9RYwP2RC5s0xs+/lokaLKqsMQzhvuCv6YMEblafb+O2Yfsz7NET1a9BA7izLXiQ0bG5fhTVZFjD0kY3IBTPP60hZXRxHqNypTMH/+0JK4K8SAkgoqfxHbaKak30/LN9s342Kbiq6/xDAy61yiQf4GtSunNExaBHdQhC5QWhncfDIR6aGiSB6sSuzJPn0VluKz/CL4apqbUEJMrUJdKBW4dGj5pfOhhHz0tVFRMtZ0v9O3yfGkORAakKGU3FaZg70RSCTy1iEeGEeViZes5/2PlgDRB5NBxApv+5n3ITmQTk9P5q8AdYzqRDZ26DILKzqbq71RXiJFzE/g7UiXg+HyoBqS5p3OHof40BKcK6sSg8T4LeExTJ2ZHJ+caTdowI3etUIzffDrq5Wm4fKt/hlPOdMtr7uVI7QIyZPIaXgOlOHmWVbxeEruN05IAw75JUMMYrHKhtYHgJ1G5IjySkz16/2DWtfyt308lFF8qlpw4B3ASP7oJY56mQ5Sh9n8BZihhAEhAhQwK3UCLRvcUrZZfJKDe7C2hbahYvdenYrSdjDk8YYQ6+BrSc4yzDBnwwOP3TV9RqEjAGormOXXq+OjvVnUHbllafNyB4q6LctEv92SZZT4+elC4Dtu9EBTcGux3jYa+oYB6Bw9piqLVUQ8ui1PckKAdoZwcPzLgf/fzzqVQmGkAQy3bekPCxLTDMncnhuyvPkvqCHj/wwKI7aCdywYdoMjNgS2FfMOIbJtE7D04gBbKUC+4Ge6Ve7xjqk+3RKFwtHN1e6nRIVBvmmzNaBjfgmkC4JfwPILpU1MrY6iKEYx63605AV+3HgaYT2/ObMdpJnRfLvUMIffld5a77L3JVou84yD/g6qX1w+c3/jGpnXDldi7A5ysVEEsrBrpDf3r+6+P0ua05SKy45nfzdVMBqIbZUbWft1gTFwWFI8ATPbWthAP5/6nBmty89Lf8rEQw1XoXb5DtXcR5uWIQsnX1mAk+h6UwZF0SS1ck0YIMhnvjzUiJFaYoWu+1yubPtgIJhNNStd2aV8GgS0FPJZ6D6sA/L9L72GFWUNcklaLwMPNQ5/6yWKCkUpSmc+Jd4z2mvJCkx5R+p1xfDeoLHx9RBxIm64EKRhBaMBNAtnavRQ6c25+wuFqfF2SY2krHOlqkoJxhaOzTdi2vi2r5GzkNgnf/bgGB2/wJxlYPIz9tSXOzBsRNM9a5hATK15+Q47PySCsAGUpiXvosieQ1G41K1gnss8Yz4ERz9qJSX+4sBj7CYCok4xA2uRWB3o4IOJ99uihlIjNCpJJ8jUg2mo+KcleLtqv/xaZ9L92tU/VQ/6YdlmavTeW5pdOTb0YeA7I2Wt8RUXo8xWrmQXijJbg4rLXg+K4ouYU00CguZDMGn2nozzF6EURmaX23fvgkELY3JqgHio8b7bG7ZVEyuMR3vuI1k6vkkx95t5gHpfXrr7FH9KSitEC1YLi/liqqwElUgiUSYZTLcgyPYAWlZgxOT2f/WPI3MV+CFM4Pgx7Kg5nPLw+7/tYKljBlGNA7qlRo+27Q94h0PgexB3f29XimGELxbYiUgqFuSbVWWW1lheoWAb6GDJfRG1sk/PwaQvnwqRUM1JPFSt3oWMhJiYHPzXLIAoXF/FCREdzbgLDgZ60hPgAllpDdMtPz5d5gzruv4aO9m8Kc89XaXH+wRCmX8ZaohshL7GmKW5UpCiy3W1aC1TEAtaJYROUKH5Lp2nZWcREDZrs53tgzJAtygxpUEf5ibNNs8bl8le8xT6gdWryWhHBhKd0+iolAHUBAchdDTowgDVI7wNkN1+s5t62Z0lx7DT6QJSRyIeWU9+hTidASxiDkxn5y0fR5GXjL/sJzIFf4qKh7oTYnuMWgxGI9aozzeagL/ZiDe+0/xp6Ml1+cVHDcH/vXF6pucTTb2cOckkmlrwGnM2XwmkqqFePFl7tIJYeJGpXxsU0j/aS8Z6LagaQudW93wh9YwxpUrsah/WZ2bXMJCuZQrdwQUTM/Rewfc+exNYRz0cakZhpHskaowK5b8MyehP32uF9nXdck+44dFO7SZhcI6RgaaMGFasbS7qTV7Ydp9TQzyYdpsqhRBv6kjZoO8Q/U8c5xrd5Jcx+oZTWpWx/Ro4LMu51GJN2SaDJi/wzyu+WlAlLaJeYrOK8R9UqT4skaWIH+LPCtXaYSGoYik/xVwbAnTbh8lSNTsxdy36lsD02EVAymnxe3TRLZvuil4Pmnj8vs7Wai615PrXJxzpIqz3xgyz6MBEM3LU7DnBpva5mlOd/D+UXpDiukXWMfiwyyoJ5x6/o4vxoRadkl61tna3Hs+bFCs7gjRGXKBYWgBfW7wAUzgBLoj4rmmEGEchLgQ9Ul3h8SXKODtrzJctCBHUFlnGjZnLA7qb+8UJfogUhHSzN/GWn35je+fBjEjZ0fNLxj7Wpla6lnlwQ+2UEaNFGwDDOLKkWk4mjjJrImW3GQPOaCkZOZslZHY5zO+vsQFnyHikUCNBfZnMe2KfltHSO/5AFZeRkxbMG7RlM2VrI5ENtEjQBV3fK/SkOQtvVvRe3NVMFhyVpBSXW0q0ZybU7DJ74+QE2BKTkpteso/cCz4ZybFTuvnPDDV9LEVw5Z5ZPO5URslQS58ApV0g1SNTMN2VyYGOGmk4krAIZAG9iqmkesacpnW556iSEg+1e0aXKgbX6xn/b2GxfdEQSraIGHMN+0o93VT0g01enE8bNmY5SWtU+Bsxhe75egt+XvufnLZkeNRJxsfieIMTllx/57YBicIlK6p2PJAYKWLEuUhoB5hUeG0045fRnLMq5qn5r13MmRMhrMXFtJWs+noHeV+vdIg9Nlle1LqOVM7nvvjkYkzSqOujqYEkHOpbyZ6pdDp6dBWCJdNbJA2skbggwOQW6TntZ+jQbWYg6UPaVsRACAIXNwzhUzpkQ/6AWTrkEdf/nzK+BXWsDgOsy9iOAGC/pvQ34Jtz8d2WyzRS7vfp9g8OVHLet+0fLim8u3GB3WkctFpJuViXkW2k2d4rRgVh2sexyDvqCM/zsFwtWjmtObWs52pVKVWONj81k/zZUMuEsBs4zsrrAN/Dsu+7BU1iQonhxT0cEPJbR/VguJcl4ntLuofTzyBpzVo1rdBseB8e78Jgw6PVH5aDsMH2yXjBp1O28vDqY5EgM+o0Lv/Wp4+YJgAqfla1onynRQkY++RiLsKQn2pCqV9LeKJPstdahJQ6EKNVy+bp4hC9Omqlppw9w/S7x/yg1H5/0uIasd58H5ZurtB2hsTE1YUaO8565rCmd5y8R/6WiYG3ON93MO5m/QLJuP/lrEXLqWcxzJtXGhyXMDNdRVTwhrlWF6AXaaUsoPkXVHh1krsSb82SyjmTAtk15q1lliBwcSkoxGfx6aX0Pb/eSh/KcY0e6QieC//0dVjZltLrv1R03S2Cl+8P5pdDdM6+Nn/fxqfMgZyhNKixtTOGGESqfcByyjvG3w1766LR8cBmDrCsah7HP2oWzV5ibkav7hOs9qzoFvY44A5G00qsRvhLE/Q01I4ym73Crs8tEugQ+14dwVC7M5m4f6dhNvijcjsl2Eo5yuXHgawe1SpmTiwO/UnitEO5SEsvitD/HwB7nuraPAi32q+JjtTaCwmV00yUHdZ8EApRfc9t+W599TbGyasrZxJA1isxylzYKQTxJ8f4Acq/0ED/01GybJ+lBYs4AZmJDbSNd+NOFWsNxC4nImQ4wFuzS3YvgWCEkt0/yzF5QhiZVi5qyGoTHFRFIy4ZzxrI6A+4PLq3bl4YpaO5CZAzdQUyf3XHo8R4JsRBqmVaWE/FrDjt0ISnMrmgjLFym8gn6SMc+KPTd6nh6lSoIoJo/qca+m2AEDp3EIdwPUE1jYXFzKZHGHjDoYh4w+LLDrhzxCJ7d2J2sA47WcP6P+CH4K9VNLvtQEmb6Io+Q8geteHFUP5JTyjNsrZybUMwtRDO3KHk3+ruCTrlboFB8U5xDJ7MEoSiEwuiNeQ1A6x1scnrzUqEn6/6+HGlzOJmoMtjbraLZKTQ3ciZLe99RZEjlWD7+KFWyFsseSjuT4Nd55vx58YvDHf6S+e6x/Qmaj99Rc1OHXF0ab9P6REX0QdOEXn0aa0vV/4/LCf+ePPt1DQCd0dAadiuPSLadWwhpqsHY09iGjEO+MD8irf5EEGOhsbqtJBDmHey5BuGR0/SfV9FY1UQ4YM8/3yKl3+Xtb8SljNl5b/J+N/KV/GxI0s32m7g+SgD3iZtoGKqOPML1/b+rtVdqMmBKMMNHiwJDqJh8mYVI02Z6XP5uoH+X4DnCDI0865YlVPdf0ilUGX4tzpC2QTlPCoc7GXpzB1+G8nLjVw0EEeSRFUvhZ665wVjnmWGeTJqTCUwmEVLL7tjyDcq5YSzxig7+lgHDv5sR3u/HUjkmSgeuMD5cx/rdz83SYSZ+BwYMjANNYcz1ZMnU1DSoIhx9fyD3gMM4NjJD9c2+fNAy5qvij3vhg8r0bdbWqz1lJMUB75sl3Xo5jS53gcIPrBLhb1nmWwI417r5ZY1jbxlvy6XBH58hEM/USgreM0PAioC+lK4PTFBPynfhT/fMJRO6cIqnjVHhP6fpptirqc2EY8ZVY0u66LUklzKEyLj4uEUTqBJrvpAZumiAt5wucrhYBxcSPY0AmCEITqgMKZqIUfTRETM5PKlWDfIW+WyQjOTNmmEF6nAZ1kUM24hOjy0rJPBkTyFVTS3LS963JyzlrrtU3famAb/efAczgJLHfbdS/Kh0icavXFLJEpKxdH/yhJLvWgMY5Bmpmw5zum4c22v+0oo8ldeU1RrFO4+VVAgTZDYNxUSawA/dSJwaA6e1eg30XCoJW/jMzc7osY3q/NtNr6r3vHRy3Z5YBvKhj9wdjaKbMz+4OCsu7p22nO0KSyAYnBH5DyY/1laTSou/z6x5ZOZb+r0110gQPDPl9e7JQg+dVm/permV/ZsQT7Iyu0KMkDNxkI9M3axWfofnjgFNnxJ+OnyA5WUWK7hl6mh4stRnlzNzirIyZf96eS5bvatlSyZ0kpDDCWCM2rQ8W3fzuRM6USe4uawBXKCxqMhMx8JHMlX+8JHvzDtpwoxI4H/8Kj/ndn2Xf5qL+7M8GNb+9UUjDGcVOBgbV7cs5FMC5aKL7Gdzy/9NNQ/nDHMYJn8DTi7UowCIsG4+nksMGuZjy9k+3VNA1sGcTP8gJX5dukLBAQqtLNAjLfApvnOGOH0QQNH2wRvWUXGUqyt5lrR0aAR9rqQ3d/UtvTXLfB2qzycdtUmQG/yXSjt1vLNYFHn3im/qUs9OEnFbun+xEl4SOrOvxpF76lbZ4qyxkP/2DQouuiHav8TMwb8X/aophzawcYLv6qT+3z26OUS+GT5Ki+n4SLnNI8DUv4n3tQOe59dFzq6Ix7UdGg7zIbjKxSuic5h2juPgQ7o+XYr6dFV9cHYS4RnadrzVReiwH+CImv/Ao7/22Fcu+csdxb9omiRCQSUIJLc9LjMPbppHMlrtXqJGiOv6sUJxmktqFx3jjzi8ATOji+eNZOhHqswUVn8c99sxrVDx/fDxcOx5mOuSWRnaXdgypfEjl9fpTbm6pBICjW10XsiqVUyvuYLR60E0pnL1amYIoU20FA4xPWaj/sisxp6ZGBU4mUuRGZBXzGZTCzePPnwl+7fvKX88nVYxr+d7rVNUO+ccbGclRpDX751qY7RHpE8UZbdS8F4IhVozHwHsHq90Ft6TVLBM0nIibEkWHphzn8nMiZ+fSqj2AM4RejWdHg9iuBqfg0wd4jkOLSBQyZ1NfkLPoPQ01Xh88AQIZF8wJr4E3IQj8lb1sreAq0czOU+m07sOZQEqdBPgvd0E/G0tdlbMwoC1PcDzCAmmA3wEK6qBAfS/gQzqwZA1k2TLto3brDVFeVW4Ev9H1D3o+gddImohiXgdiSCWwxQ2x+SnVe+hkIbVPptS65Y0WfDa2MoKzakoyAPU+4J/Wu7YUzrs+Wf3uAxYxo2K/s0gQEVFwHk/BTl5AsrdGpwrhfQ3sa6K+KB29sGQN9lLOmJvC5/ZgWS9uAtQ0i/8SKEIX+4i/SLqBPX5nOpUDaKaq3HhmIezs8bGYbqT17Ga1rduKeLHI4BMXfpH3Li0APtsPG/iTAPteA6GJQ7cz4Sn8CZloPrQRoRDoTcDswmgW5YL0ifIhnAZqEBvqp8PQkITMovL6/vHDky2m4ATyG8kYfKRD4CTzTxK5yrop+tlwD8V86VU5a15Xa7wbkeF+PCU+NJhf5aF0KvpeL7Ib85HA/Ifvr9LrU4jB1zWJAfj5sn8K0joTjLIrw+TokncycskiZMfLfXiyKHhnnLmB9jD8AHHDtOBkT7xTg00EwNBz4NmyHArgQPl4681MDqYm1z4uWyNLNuH4gMjfGvAMC6yF0GY/q4Cg5pTfAxjhQvQQ3Z3J6yv5ou9yX3cQHAtIhNiV4rWpGHz3GNjGtQMskhb/KZEdiK73SkW9j2mJxQPGiNvkRwvkNafMAlux0nCud7It1NbnUaKIM8XJijD9gBbaRTplUSvpzean1BOqvERMf7mPpq30kHnElLcPYUqsDA/d5uXQYN7B2WBsa7YTs3ZghYZS2WRD6OZXiMNupAM/F631mIAcMq68g2jE3b4K5Ufd3Np9/UH1ypb75ewYNc91Jlx0WghJzRnUjd5CA5KZjLc4Y5Di6o9pmY/YBKgAQr/CE7b426s9RZ0MDzcW7INqZ/T6Js+MJV97kOYIlhYpCHKGNR7JabntZ94a+mvwd0U0gI6eAiq9KcTMM/X1JbqeI/p6r6Ywbf2W4v6gcRqoqml+fHnK/O0MvSfM2/ZZNBc9PuTrDTZTMtKzHnxJbUk8uin4rnKOfcU5rRMxUtpizHok96TDulLW4elhc8maHDt/JM8Zpaa2fzVsjAna7xlXJst+FKl093hmwgaprXdnxTtPWBJxubGjhUkI/x7kIuBr3TC1TlQ5pmh9Lt0TB/GmJ+a8YXjIdqPs+9N9l2oOgsdfA4CIBSSLtu+lWITNlD7oNbX4YMuwlcbCKHS4xF2+DLe/4X0S8MEONK/zmPF0BGCQKyrcappPWpfV8WkNEK+3XWuSTCoklkR5m/I0y4C1mFM3JRaqG67xJhguHkCIlUaJT4+OMfJ6TV8Mar6xFydHMOkg+yBToU7oUHk65ij98FjCEGwVV0mHFnJCXvhKMIQRwP+Pl2HJ6+srYmE+AERUP/m7nk92VRZXVVXEDibhnnijo9Vu9ZEdF3NykMWR536h39Ssx/cQmnLQ0L41Kc5uHJPADOgWUdOT0UKZF+qKSgGy9WuNbIcRVlYGcB3KklDRrw15WRYZaq3CGJ19gjbSSAkPdRdboY2BlprU3fTfUVzKq+7q2KaHvEXveyiLFsCsRpK+WFt+1fUIpdAVuzy8nUJaSrEFGshHdUdWI1IUesePOskNo5BySzVOGMrfiMV2inYSd0oojcd+PAwYcpJTPgAhPj23JchpTKRK8PDGvS72NFd+x+8TDmcYIknr0t4sMz1NV5i+xvR9jo0LscQ4f+f61fFr41FytWWxviiDQUTRCm9FERfOiovUflZAhqcnDSQ6WEmdhlee6qxCCrS7I66m5ou/KJZ+lx1SUhVf5+uaS5zx0Xq6ps8iiWQYowBME6eRTzNskarBoy5ArFJ8sTebmYDqD5nQGgIim6IedmVFlHvIJ9QOqQuCGSZlDrKHpIkF5+z6JUX8L2dBCu99KpF7xPYJLE4IRpBMqIVpUAJO6yqF2/n5d76c36KpnQyEh2hjbViaTNEqENRO2w6zKhmF+6dV/qNWMXGhx+m9FSxrrMIthT2T+pjsA6EKrr7flKD6vIrlGyHpmnaWbluiYK1bhROuVHzOPDEd/D00wSM7E5mDPaQGm0400GyBKCTpnkp3ExVFRhZbKDfOsXys8Qb3fv3yhCTRFnTwFkw6Eihtc+iaQ1NbYR7S80k1/habglbFPv5RpDDalOqrWLuJ9EFy5lEYs8JmXKbYLMtoQgdXLdCeV3yUQoET1OnQOLzSb4pyGF/hw+/j5oY6zJwk6a3yiAiRD4nGMchaVdH0cSlF2nw4YMwWc+3wAMycW+WiC7jvKCZYiu/TR4KiX9FT/FzuyguEoKGoPh+OqfUylkvoiSQzjBzC4/cQjE/O2e+nPctliMFDw2Lm92neevcXrhIOns/QGK5T426HCK1BJeim0BJD7hrAFQ8BBrIhg3xotlfkQrxXmzEtn9agNA+NyoPyiiMLXV0vspwbAsvuNWoa6xCjmTCFN/vzlAanjMz2AJR+kjrmWywUMZ4RxKUKvUIxe0O7XXEud9LFkNK7R2jBNqiDXwD6sODQg+GfV6uC/pKG5hZH1ChDrSQB1ARoSjp2AlCNTDamgDO9b9aUznkmccI7p1Ofczzn+2LxPDyXJpaWwPRqhhIDSgOI1/hYPQFZPCbN7YKOvtzYGTXfnDuZA8bT+w9xCLi18Vj73PqicJQVjTg143PSM4sIEEvKtKISnAX2D6A8hSQithHRwSgMCjhvsghAi3pgXnRDuEJmPK0/mwZ+1KXjX+MwYwIOj7uwk5s4jZcxHvWJlrxld+fqNw7lEBavwHojvqdaLCpUr90x8L3pSjvx/QysOVXtkNjYpwbapo/wTPvNa5Xg2ZCUYlgFT19fRHdynCwb+8Hks0awcUrqwpfxJJZdKRIUsC3YiY86s9EwbrIcL4wtxKlB8i/MmPaY6NdVfbazoC/tCiVXDqoRkyaeyHtdR7GzjDwrdx0HScC4SpPvK2VJtDeUR+2bg2YjYWxWfMpjHo/ErRY6FwUzLnRDfwIVFRG9R/rD0znExyzVYEuswlnVK5YEzSOgn4Ooot7XYQSfk+AldUK+Io3lTJV7Lvq+lkXqLcJPYob562gD16pdo95XjagKM4SfxQHhJxFXQSjZwMriuQDZ4dnRvCayK+Cd/JXzyFcHUD41uc/lOSDEgohl6DQGbmqJYRYPiw7M8r82yq5a8m2mA5MFlLTrJ4b4dQg3NNSBVnG26Qf8gSE90Jb5BCQ3IwjYR1CrZ7O2nAO6fBZxS5y6Y7q+arcWac8G4Hl/p9M3LLBNgULNka2LEBYSDcVU4jEOgIhRcNIXDF3qpFreuVNEG4bIBpgZkuzh/3HiZ3taRsXiJ9VYqaKX8af/dGD5qa9HLmkgC0dx2QmO/bAPNm1kNbEzfjtQMJfuprFsExA7F+CuiRvrrz+FLzaBN2qeWaYDRdEZnqiTQJG6kX5tkjija6ODok1Odbn4efVFSwV214B7S5nxQhK64e82aBwkUSFghYkWDr3nprYn/SMTAnw7vgBaq4Dd8ArZg6Pxe1hv+sep6NXT8I9mzpHKZmwwg1ikMZHYZsz1FO7ZmyTvHhdK3fD4arOgQ/UaBkR4AUxIPbWCcP3Kxtm/Tht566uEA+B93jitQwaxXn7Wje9KN5V/GRk5xLa1VP9zGm5YogfGOIuNP59e+KXUdsOiNxW1hOkXBXFWaYaH1hPXCphfnDs8q7de02Z9NDqXg3rhJ2E9LwWSh6gFyIiiLgH9LRKbzcmfxRpfvGdWtnIBPKqaXhzBC/y6CFYru2htQgMAMedA1pBEiTRQ2810oA8a4e8B+VzHcgR4QtWiXIrruf8c+X9ehGZdLoz4mtF2Oamh52+wU+Y8qByE5pTGp6KfURWSOJp+9D7z6xrku390Eat/y2B7J4RT/W8lPXUdCArtd5/Hf2eo11eEOxzk6VPg2R3E+t84HAviQMRTlXgJgPklA05LmsfVeuojfZuecE+vngys/v+ZWb+xvir+wn3td3rNgLBELAcw7jfjZtLo6xPBGQwrEMQQEPtYV7MrX16yQK0vEQg0FvvN1HFpyReWtoN7w002vQq0VpZ2DXiqpP2Y7u0KtZ0anie22Vtec+EwyWp9ta3MIX4SmTvU7g6/kuXkx3Mn8jF5RhxyIcaACzhk/MptWzqXzZsH5k3N0JvMgtUo0bYOvbh5lWwmaXIQNsmWlP4aDRNT2RI4bRueVPQozWBJsJrp4v5A2D1WIuoS8os9U/MdhVcYyn1nGQm8KkvIgsks0jVwgFBFUJGnFr51EqN63r0vDOUk281x+uVQMK7PJHvv5im8y2DOEubBksCcilOeKd2AuZjW8fGpxqrqMoFuSoiXp7A+EQprrtMiaA1j1nbiXyf0Y2Dwtqp9K7wJMOUXNTUdzbmYxN3eLhJWzJukDVTdhnAC1sg0zk7dd4ttDhgWKEjDw1IcqHeHpVKrGfZLXxemkzN1+JCnKpNkBq7012HyosMNHIiCXUh2MJ3EgFrS3eIcG6PPjosuUQuWU7T9R+jzXHjuLQsLaw75EsJ+Nz7QrRZ2dQFxojRXNSv+A+Poed0VZlWzGxVjeGXLAX8zWCkedm9vdQNb6vxHP8JzYwkS7EdqF1+9sK0gOhyBA5CfwD5A8PP2PLvuhYcR04rd1AI1oLr1SP9iauc2lWbtBE7B0joQYyOkXh8VsvfRj/PMdFhcvK5Tjf470criVFOTs0Y51rbohk2NETUxP7G10Sp+P48HUEtlqtldZXMsIwm7BGNrs/C3LmielWQqgCwgw1mZO1D7MlrfDLDrDrb0DhBOGSmzKddl3OuB/vv0MRNwbwnN9kxt2HK4oilXTRJCq8cxIqCSQGOWNkjKdJ0TGwll1qSIg4eDzPnPUiZVyuhLtljI+bn65EqGAAy0zGK1vSoxWILxCv4Hk4z5XH/jVPkvYg9EvssSKt30j0/ew9VmMgBNJAkGdAddI9Pf3OCv9dWd5BUfz6pVtcRyES0VEzkuC+aJWBUt191VXfoaGhI3rUoAcLKPqA7cqtDLX3FPsnQVrp4CX6G8cvEaxLcDr8EeVn9HttY9eoPNG0wZ1wlnB9rebQRGW+YEBXCMTCGIYYbSyBY+ujrerRe7m4Gdicmsz8rtGi3pOD+utL+que2L93WlO8gb0fh+1ma8N9xf+3LagOCYr7ejlC8Dei8VDuaoG2LaRKai81EPTPPDwrnk1fA/CIPdKNw0JHnDgtAUdTYKFDbxDuJGw5oPV9wmYVDnulpK+4WGWPhxwfNwwG/7ur4+k4FP0re5+e+t4pLZz2VVyfuG0Tt+TPz1x1QAkJKj2hKzXvTJawBR2vDlSkz8TlxXLYtXT9dtmbpHMwaiTIwit5NN65mAODdVOEAv282Bx6FstfDyx7mO+SiNIhsjp8vjvuiGbsvm1q67TmlhJ3VtrDni6YXPzmborE/KNlsWkr2utGmq28qOrRMEi+cUJG0Uyt+8kwGNHYk332JTxKbRylPgwdRVqpM/Q2Eugs1o7gOP8oRZxqYrJCZl/pZ5AxZhvD+iY9e0kCWNGizZ941ckN/EdjoXG4EOIGSawvvHBmR+m9IvYbhM8G8+e1LxJnrboZZp9gMMQmwxycuzC5PjHxBz4Haz/VDZhUF8mNGXE/O6iSgntVKBpcsNYhkVgIc0RnorlmKMIuWX+d0ILtetaDpuVCdCq2sjMQlw/Sy7fVcAjE2RrORXOorHGgNixQ/w+cnKQA6uM7JDvKP/KDI3jf4OTGcyxjOkjhhVV+DbOMXWiQ95ye0z53lD8qNd3yxGWiWvJJ2FbEqKNmCwiupLfCedhstefrQ9nOE+Wbee+homoz6ZhrcdKXCW7jUauRdcMkz90pqC66/XmtFuFUBvcKuzQQPHquglqH0jgOuQ99V7XTV+X5z64Yc4gSL6rnOg51XpOmOAojzlYbC0M9S/LAG3g0K8PM3s/zEro3NGbgAOtGrzqcsPyr18WQMJsDfm72EMW2IbiAKLIb+4h5yn/Kgbrc37TAIDNY6V+vM4CfgyiP1KvfEBRb0OExtVtjnhPkzfpO5fpAErlBo+PGb6yrQL3nnqruguMgU4SseH9rXG6HyUnJmRmDA9XObr73neN63rs3pVInrZwwZaonqGemF1Oyox6Wf6t79JjeRPNsOMKPx1tlvJ7ntGSIhFx8yv1TG5lYuynTmk20py2aA+PN1YZVkybSkKVBognpdJqijJ1+16CWJ4Xe3VOM/py/8uSuVU52BqcnEvpVt5z3ST7bYmsurPcccMzyTKqu+gUeUPnua3f8BN4snn8BSfjVtSFiLJmEoHxPW/HnW00sFelWIFOEyHGCRzZO3cfFnkJjdCGMQiRSgNQ+lFW57reARfdm5gqV6I+59uS+YJ1AXGkZXO4qhPjBwJaHSXwtMjCpZTNvOkuKk/D2Ufk6zxUX1kjZFL/5Aj1L2jfI1oZihFD/0IbavYte1QSIC409s8tZPYm7Ax/saJUymnGx9rWowOoz5pA4UcPaRw78jQOl6iXbojUx/VbqJnVOEvbTt7lRL8JaHnhqScW9g2vJNTIMNyFB6WqBFagjOa35htYAyhwafjQDwZyNyEAp8B510Jz58RW3If7QJWjqf7o3YAdQTOdpn86UvPSYGC/JAWHnk0AZSDhjdT6laTshij4agUITCKS0ef0jQSGCiorVjg/67Q5YJVikfhOnFLkPWnDTp+1NZlIupUacYkU15owFGh2zdWh3l8H3jDYYAPDBcY/lpO2jxIcEKJB7Gu7IM+OAnnDNXKPljgoh3blzxx6LiIrCj6FNhuvJlavhVYH7aMu+3ZNmOUBEyjlNwFS0lDtzyITyTL6Pt5RFVLaxHzQDLkbViyX5lDhyqHg5xLLVJuuip+qwjbYyIfCw6xBTINinZg2Jz6PGEEQ0WMRScC4caFStl2N05i20ljghLWXCt+MWg0nDeIySEnljBcMLiG8/HPXQpj+lLR3T42lcvPIgt6W2TnPy72Q/g8TeGrt55y96YIFv7aOkMlvmNg5yyrMEC9NcN28IsogR5fOOR/jsB1c+CY5PAxz5seJ40O/QmLs8XUIEsOWAcfuuLhlZq/zqOuajpbBWbeA/jvdGQrZhVHwP/gNT1u0ViuPWgJPgtDMi3vm3S4fsxh1ptvPMuyhPjjb79APeLIXh34vwb6uJq+/x7hmPvOwwBoMpfHmQoiRgeQpP0Xsw2ZPYeniJPj4PR0pZz30kYxJDd4x5I6kP8xwoWMrnOATImWCKxsrChhckesaiX162ye6rtqcfjoAH6R95OVyr7U4dDJ9EprgdBqffCPCmOkDzE8YymBpC7nYILGymJrZ5Ha+sVRG9u6zf7CAETT1QZWxCSAbpgBp3rV1nWiK6bGnlUETmW8UUpZYcdSgF9Vw7ftWIBwKErduXW79N0/1489MNEwwqQwAtO2dfiOTYHiZzsdsS4uiRa/cB3+ABKswzQwu+BKmhFjDo7/gj3da4TLzo9umyCtEYecIWUPtROErVl1ObhG9Df4v+a7HMKhLJMNcddKFoQWeb6fkX6LFg5/1b2v2afFfTCKhqtkecc4jMEJVba05YaqfYNwspWKJbQhOGO0N2eAyO7hCJYhQSyLLnG/8tOaLhYq2W7KWcpHSQ7oNc0eP+l23A0VdVB5xDemW1cKQFz6Fe92OU5q0j088z5vo9E+bubDJpHvhwfaq9wxoDvzczYCk5y1GHlep0YaYHeJVD4Bd1CWCwkSUeOn7771tJphxH4FjwPaMGHnhV36aU5nYUBgZXt4WrfBA8Jgc5xSXKGAtb25foACpS8GR7hV6Ln9WjyHpu68igDcfpdeDm/w7f1FTl1Tm+SPX7aLboOzDHod1xfh15Od8mNCdOy0igYsztURRH+vrbCNDbNt7P8Um1X5TPfdKwbs9G5pEXnDQRFE/od7Zo0BPqLEASZSr+lg8hdG/ySJE1YS4vVHiuokrhRwOMHCV9GpGl6dty82rCRJ+zBM1+/iLno5iem2YOky27Pkz+wwz/bQ+NHbg/qa9/VQORnlB88uqADhmCgstrgEkTmegJ2shmXFsIFx3reO32pzC7fgR1NPFGOnp3utelzNW5fa+ImvL7JXsjdWf+Yh6W+i1m28Rnl8kkZBddNfDRGIS0nbeZCdEA75Z7VxEZ8xm4l5HUkL20n9TLMeWxzqkg7n/KITOBd5fFVFKsXWWDfJsmSUpFGDRGYuAyTsgwCOpiEV7m573nDpMoxT01KsJu3m9PpoxABYE5CEla+j62Mg6+8lHMGxKbqr1SBNOB6FeG5DanL+YPa3RwjySHO0aYQ9J2z4arZrucxXHxk/Rd6iLEiyrk7FyGDqHrvAdMfE7Z+Hv3eHq1zJv+ZF/YU1xbXmgjdpjIu/Rm0JNdhK7nTkMPaBRKH2zWf/hH6cz2D4snKV4gJZrkUmezIUz5nRl6MPnc6lp2onhUowTkb1Cg3Nr9jcK7up0IOp1HeOa3djSbNQViwmDJaFDEbeeJ4gr47G9Ak/m3ljjsONywQLOB9lD1sOaQ1+HGnogWAY+i4OQqQG2ZTKDqYQicmlnESWB1ipw/rL6eABtfC7Psfxiccg5P9FGHGN037S/2hDyimFzT4axgYUeeAkeUBEjYpcZRHQUc0aULU6DDoEQT39iZuWUsQDNfj4CbYccz5xSzeRcjxdo70lnHg9fsenqGm74hfgC2PFdWyT6BeTxQmd2HgdmmuWWe4dp1oiGjr5hK8qXD3i63TwU4AFwZ/+74c9Dx+Hl99fuqJVf0qt47hKx2YSeEA8iQvdGM2fpY8K2Wg/0YBaTLcSqv67TMH1+h/o7t/1ZBQaUrq1B+bfAO3rzz0XQwzQ1gnxY2fU6pfCmsZ+hpAbClSPIfqQ9JunnPuGnIItZeDQSEWPafoglrZy3zYcNPX4u0PMqGXhNY4irX1Ys53nK36yy5mSzvakVmO+iyoCPxzfVRDgZ/mQ1UgAH6BveCG1SxfV5Glw5U5+ll/SevoVzCpSLL5I26Rd4x2+TmB8wtRqT7ex3Z8A/dcAY1ZMjcpKmN2oaJCAhDqwX51Xegr1Tin7dvs2nyyXyrthQZd/KV08dClxsbMxuujt0JFk2bt2SkrQGBaaUzH1zYEkGhCOZMYqhKKIkqr9tIDxSzhgyjhLq6Jz+lot7H8DspF8m1bhPPSXvCKlMsHTtQVFrdunuplnWjvopdgvyKCaMCpKibweGDOFRoVJ/kKYzAsdz52WEaB9gbjYZxIPfS8yw/YDlEUNnC8tVwROAerWfePeJrTG9PRwVHsLQzru0Bi6ppzs0RpR5fiZj7LXyR4HURTYJiFigw6rAjtyAcYhCmz30wTQ+WxefPQ2NXVKeSb2nhmZ6MpoO0rLCbfW932/MCq4xobfnYZZ+JRD2TF9lsO5WYmZA2Yfv12/2QFsHK5FRtF2o+4K7jR//vtwe0m6cBU562nUkn1VOS2wLJtIvPpDApiJpnZp4Gyp2mQsWsk4taELH4r4/E0nPXCkch06PUcZe7KNq3SFeeHPrlCp07EOEvUlYW1qPlQW0R/yx2imrS9m5zrmY2YIsAQzpp30mKgNfLw0e2wzVLHNQs0R+Mfsnyl0HNR1MWsBympfrddWah3g6jSjZ5Gastv+BEL+Jjks5lYW/U3Ou/B9y1R1DXSOeO7PSfKToHQmeX04D8WUgAvAoR4W3mLfPTi5ULJgvG8C4Tg6DV31XfCnCFb0KNhn51e5Wi9GfhsvCb1GBuuV3cvXNEqPOQPhr2BpxuaJoEGje5XkzLzDns3S6XR6xRIMiCEsYUzVSABOqsqosvxkYRqFIMrpm9zwhftRKzhu9tfRKGFaDLcluiulKPjnjFKBuNlKQCwoO0jFCWmjSIGdb2MhkXKDRgfHuyZZvfNZxvXWnjclTCISuVEvUnkzgNL9vG9dP3qS1eDNLh+7Je7TAM744pHUVUSPiBITcxer1sv0J6eGYJ9Q6sglCKfo+ToAamE9X77fToTktZqbk9qmM0WwmfsLHswJ38US2p5DpVKrqh8JadmJbJ/mcT0y07qgMYfohHysX7jG9xjT5g+rMeLOsSu41i9I3FryppKcHtXioWJNM6jtUVQyfT9nPm/NEClUCgwNLo6HIAlyDf3w54wbRj73O0Z6xhUeX7oyznwfgn3TYqPea162EHree+7nsrzFFxpvCNZSiBehQ85CUBPEisKMEDl19EccAWlhPSsUnS+vZBO5UNEoFGrF2osR/szmFSKjGDPNhbHwdXHiv02PNDfUaSflqJdwR0BbckgzLFFlGF6WkNMOkqb3tWkGBWOTAa67Wi+0Qzn7qR9Sb/0aLM7K+RKTgchErasq+wxCFAFRwrpqp/LlKd7XbS2w6isyKRzLMkGqGb5QrE52LnkBSppOFX9UHs3p87/tPp5EQbbxqFKsxj42LB13QoauT2/aKOCgMNQzQAOxi+Q/PPDaZD0th61n6Hm6rz0lO6aepvLn5jPthA2ooFUXSbMxwTOFd0keZ5TIBB5VihK2kg7qGgSdo3x46H91K1z4FbJRAQXOUSFPP3TU6RxCIhYF3jqCuuAgxAUbz3N/Tmo42lZ6CPN02gcE17/xeaF6tyW7bSJFsN20ZnFu/4px8OpzXLIzTZ8YCxB6Q3K/TZ+OgvEvGCCVtsjiEhlF6mcXNS6J2yfggk3I/BMTW5gRPYCmuH4KPo+dAsQkvWw6flZrs++cXqOJNyHlcqYeMLHV4mQIcJ9VyMFBxhzLa2GtJuIT1zHFAMMcnadWEj6okq1bKywz+XH21bX1XbnPF98t5vUwlamtHKPzw3JhxUHDJvCT8Vnbr8xzbesKbye0eyvfUqHJn6c/sXRHQ2IKUzf/5lziSlBl7mB3koN8i/FcjEquAahnXiKgYkfzfUZq+cJoBLTiByRoj4xEEw8oHhALGlISwCVJdNqn4DfwmPCWQCTwRLSQbdVozWDLjhrGwbrEXqRcDNnEMJ89FK9OoIH4KBSPmeMPFPk7ZwrCYLZDYQvjnHbI6leW6JW7uLHZ8bfMGcB/xuAwpCDQz0bE4t3VivdV4umm3JtkjCWbnzoeCFMJjM8ZjV5hC5F0aDDMA+/1vza3E0vTex8JM0OJD0B9b3icLaeDAMnVbBz57CHW7JENzEzRgkus97VStgcOVhG1rSnVQAeHhBvopDafUHqv/oEZV7tTsIJlsKXLp0zpl4t/4z+sYe6gD+AJY6KLJ/TS02Qx/dT6QOep+DtjWkfYlalJe1ROZTipVaNO8HobJotLyIpBNkfM2VQjwungdrTZIeLWygMwg4pp8PMMCz8wSIVG8eokbFFfLiPW5EMNX2wgW/TFg5U9JYhzHegD2GKW4sJhZDlceoJaPmPzs9WRiGDzx1dGydr6l66C4KBT4DqnNPbvkiZW5JQFOcb4tD4l6K2Etk4C+7UyBTgcYzhUS5P551q+vcavL7Bk7ngC2eTv+d+zBZY5yPa48gMUO1ykCdDHKlP7MDcy+gk6YOS5FupfDMNcuMG6UXzPO/qDeSeHVdFKU0G1kFsULqUcDLhtNihovdxKN8V7aLGPcZT+bbRwfAPhA2Cgoo46MVYgBy5toEFFgEC8oG2GJiHW5IZ30nt7zas7VyUvQXvacPYi7gwXTBlZHJNWDajD68rg5KEPy1cEQg3VzFjKgPCV+OoQH4kJ8TEy3rsCHP3MxvqU09c4q438WKloFn00UtGZozVPn9gqypQZy1xmktgqyOzQd4aQhvVzGx+L63mll2teZoH5xsIsTRwsmscV5PSkgjHpjt4LCTKcIvlzXsCdAZJftZFXZoCAUUqxhfq75XDnt4uyKB12uNjREiZ4+zCnf4U0K9p2TW7fURvWVBu7772nuwvp5ZyUL502v5Q8WazjoRXNANqS0ZPT1fR5R/Ru00OlDhv0WEQPfBeVhauCyzPG2L7PH0WjI8J/GErXmtH0b2B5nM+sZ1Mj2321WeqDYEzGoebnNwdbtM4HvK3au9i7V+k4wMVl99oaCt/wNRMeC5yQ1lpL1WRfewoMBrLBlJy0QQCtKNKoGyTMK0ehtvyytkDIinfhzb+KisZvXq2rKWwr2zMysPvIV2mrnuyhRDGrWlccL0cfcSzNjpAmjr1r8ie4zhREbRCTOiBN7xB7oSpqxfyDbVSc2zzeFxDVO0EZeoz/rfCWysvRuF1ASsu0wZckv97wTbvR7GfUmDzo58WH73NntJQH+Ox7S24QZ3Oxr7qsL+eM0RtUkG0D554lPGxSpUUBTC1drKJtLmDHcbe8dAb6HKEdZfs013KcKHWBFv8rXD1GwpRO3Hdkij0l2mDSK3aoTUQBaNe3aAKg+6kvm7JRq44kc+Na3Q/+8MZQd0lpDkAI4fqilcq/YPBbJrEg9ZdiqbgfXii3HQ8133Ym8nKK4mq2ceRAuSd07fjhmQ+c0+Txkt2ke3KrkYASsYz1/6pciUNCNy8rpaHZW0Ik4xl3g97d3YyGMWY3GHNw36IrDe4YGm9HU3eash0ker9d9w8xksjrECyknm66iISCcWmMmWE6/3CTCAxSyHU9JVEstrBmTxRbrfNoS9kA+XTvW+c24NYoNhBOoMIoQEnizL1nVehEbyEzcpcfTuJnSizFteen6Y+XqqV7QDx8hV4I/ny+WFswj6J0dMsNz1OQQ/AzA9n8RTCjRGosmS3dmy8zIISqqMOthTmq+b61cCK/x7GRDEQWHSKqG+yocSSa4DW1rcvGyJH+zrkS9v0mBD4lIAXSndJ0eq/+A+yicHMo6Fzkw3vw6ElyMsHdqz608c9jq8LA5rkI+2SJVWXpVcSsQVvv80PUivtrmYyHKgzFKgYuuEM5BselGP6kKuIaWY0xZ0Z8ZCBEvAtPuRDxkW6BRlurK1kHkrx2lRT2d8vYwWpiqSPozQeMSBYmntcYm/ghZYTidEBjyqi1cIvEXSxjjKf0rE7RiIGWFSDOU+/rDI4KLa3lPhHVF13aCovDilo0/mNZhU1tkCP7XgKbeg4eGXHKWQe1vXB3lhHVWmwOu/Dxpwb6wDkPmDen3EUm4GtG5upXFWA17E3pgdP8Vkg5iOjqSKJY19Bya0vIQt9GdehXgMVtZp6B2AhQaLXBZjAXODx2U9XrBC6feIAq4jggdTr3tBPwQSAheMgLg4OafFTJeAcUQrw53wT2H/I27w+UhrdvPjz5VR14AxxApx/IfC5mRCbL2EGUxqdhWLY2B/2zxUDmv9nckYwdlKora+tz7yLJc03Cx6ai7917iTTqOvQ+kD0E2M+bi9Ynj1YNjlOpp1Kw8nJi6HISZGjvoVAoii+KwqmFrXKUM9XDF8AlRfhyE7O8wXTPbZSh7qFGAKI9leH3p3Zbm7GgxgRVfWXdYPLruuVVLq6w9ZQFv+Z9lpwjhZ2LFhmomJrG1+VgeZ1+CV7azxPaajBsmr3u5FoENfy8MuN2pIR510fSGkRyoXnxaWVz7mYQrzEMiP9VA6tKUq1ncHYtCujipE8UCU94pzMlhAjXNtFtHKL3YVu2e3R+gqpDUwOBza5deVPmB7Dd4dzdRrHLAE5ZDBIc8u6YNa7BSpLzIRXdRTa1Aiazy++QlpTreKGaeoTSxr4lkggvGBM3hr2B3PzFOo5i1Za04vuLeYhwBfrQSnFNH9YXhE7RR7QxqH3PxWhU8g32nHQUGSZoPZQH+eA8HTkDkmLtN4a2Zkdu9HYYC3uidVu7fNUTI9KQ6PtcdE//jC7oOU7rvypRdT+2JPmcwbz2xwaf8m+lYoQ5AIAtTjAGdw4KI/qHM3Gkafdy3UoI/u8UpQbfjWo44mx/DG0gbmTZDv/RgnJnpsZftwR5CawqBCozIBMQPu3m0LOZslAHrUxVpsdrpXnhViPPLaFavYLHKh2PjV9ktA4NRWg3WkspRlu20W3ENNYW+cAZTIvAiSaROlBc3twFNPmekIWkTqFX9vNR39CqHFrjCZlahc2yLmUxsgsGDE13aAuUMSocA76SGgP2idI/5xtIl39RqL4AZNjhJl8IcdbKsoVDTOX7513HLttpkqSPcXG47DSNCg9pnBD92R374htIaCCtVtGpPMpKnZ3d3/YNAJLTbuVLQud5uMr2yFeQYS7N82yhhbZr2j1LbpWwGYLV565g3yMMVy1f+scRrKwti3Y046C9iN5uSsOpf3H2BM3yaCfJbW4Ray88aRZN0YzXxxpugBUlG/5wqC4+FhFomWgLIffeJTIPeSeyTr95dESNf66yW/ZOjjd3sRHKHlv8ffA77QNuLtDTI79twjJxT+uaeiz414jws9xJPIqxUhh9fUHx4dFeJrEhcaO3rUlhNs7YsRE//UjkVR7JFxsrIsX0rHAuEs7f68mZOesvKYffNux/L7F6QuaDyDIY4eBwTQy26WvPTIJmKeOdqy8EaMr4QK9kfD/uU0YtT2iZ3Gx1NLQSWEV8i9Ls+t72+AaavCjK7PgmXOXOrvO2qByBvkd6GkQyo9MaPjQqfqYKhmThA1em3RPtdAjdSP1OdLlrO2tSwzPdsYk1hjOqvyaOUv+2B9kv+lU3gxHektHgpk0KdHahW9iBRdnXimTjrmN5ytHMHESfU1DCTK4Phy2oRDkCfXoP2QR3fYn4a5h0BlXi6H4zsIl+fbZbMQ/xRT1A6ziIKPZRaEQESWFy1l2z1s63PHyq77EZaXq8XKjSCoLkFiJXfRV5Yf2U6e7Jy9JZikAlUHdRFVivHN3fnsSMU2fpccOglS2D8Rgg/4jWsU0kpld4y8fRK6PXTWNMXjrR5bv+GasEmShJcmVhtLEVye8tjrjy2BhOywo/pFaahqwLEWC7645E9kQW2DyLQCUhviTstRfGoQrC+7ERkNqE5TkPIhPnRtOqvFDbVrTSYVkcYxLjD+RDSiyO8ldCDbU9s0WErEFvxwtwITSO4jvyaw9aHnEDN9RhfvEozZZcUAlJBLbFwXoi/kr1UgPmb12kS2HZ0v95HEDh/l7IQdwcrtqAypGwMyuDFmnolQv/CyzfemUVhriMAfrY2pACoR3jPk8NlycH1GDCGSId/tbILNvvyRZX6bfetaMiXuMPRJ7eFFyndlWZAAd4Q71p/yP3eWxUUr5t2hWoFMDsMahXz4OLokA7ZI6A0ypVtauyKztlRp3CJOukqUmpV3X+uVYLGZjq2fvK/4lKb4eq2+B8UnFCoyLB/o/OIWpEkoiqpWUE6F2DK36Rq970zV/pKhDMXwIwPF8XV/Wpcdmy+JpQxDxZNg+AB5hoyUrwr/4vJV3dYKHCnVjECQ5mvwFWSEA3ZguBZfFic0tUVmuIAFzHZLAZbVXZzq0tuxhYmgKiUHckxfuizjDT9lzGGI17M9miyc9Hs4yogVQXWeD7BOpoaRa7yhp6ut48tGklSmIsD0VB/KBUdbkly+xEAtacUs06jZVDjttNe9bAYcamTbNP5r4EyBxP6d8nOM6AXBeDWT2xSNH9VGJf3Me6mCuCuS9+kOat2Jv/rRYEMyhX+ZlvV+SxOHX/hnuGZDWE3jD13dx8U/ThBeLRM5ds5T85lvRpiuEuEX8IQM4KIjsG2b/riTPYzuuYXrHtlY7841wl/QayDEq6vqSsL+eMOHHTOa2U1siIEqbyuXgcBRY2nPMjB1XvjDjHqpgOKYaQqSMFZHTGl19lKiMk5ZUqgXCIqtjjUOM3Jli9sF3vxbhTGZANsy4mUIk8YLYxX6lNxfeeL7CRbl4DZcUjWaH57G0eWUCl7yZYmIOAWihxZuYRcA2Zwqbw/uK6eCv0ugRn96WvQ7v7YNWflu9qPMrhy/OWavO6FvVKa2cCafbJpQ588jtDemoFFyKeb4pAjUIoZh/qT8kdfoKUIEoA85lYdnUXDBl8wiONPH0clS8mcWQHFVdeBoTKyB8DLfzMSHq7x6Oki0PJqH0B/Y1NE6z5qQWoYPAiiReTYzKKk27FYcB9fG87RyyqLmst5JuxqqYiF/l6sFZmGUYs/UPxnFTHxLQRzKaToauXqkcSBJIAfC9iuuvo8w9F6GxAW4kmkzU9zNm1aYp2raC0D4jXfILIaSDoQsuEtL99YMVHofQGvqcZJ91rgYNA+HmnziQJo7FhzxyZtpU79ysXwU8vcZ0nzbq3U42FFspjr6KRxJLj7dP8QmUrhgyNP2EcLI2m5WTAPQMWGB/MhSliWTxdSo8fMY1mBC/1YidLqbKiqz4adN4diN7PZ3vDd/qbg7ql6dbl0RRTaZhkHKoli8vsidWH9ncxoWP1UD8JCAPxVRcTebNsCva1H9QhPm/rjg/OjYCZtY+NmmKbCJGg+5EKxcX5k6L5LwCEU5soonn38Bla8r5FXfRzMG8hOcKc3PoShI1Vwag6uJpkbtWUE/jRHizoKhxQduDHeMB3ShStM196g4wffDvq0hdsNYDGVNfqMwBrmygbIBAOWPcRVHlDf2crrOLRdi9wOSiHyCSDfuEZQ+kvgWzx2coXuUosadCLxEdV9BcIRUBH/SJP9wIaJ+jSBsvHAYQGct2M15Iz7Omgb35JUbd3U3LyVwB52F3GG/yUrXnloRseVwH4OMDpt8+PFlL/04RkCLIxkdesWOTNYKt1ZbuJcwlcmj7aKNWfIn0cWZg507l/6P5n0Wtrdv9QyXKMPgsyz0bUvN3A4ARVbUarKrTH4kdd+X/oQMlodlMTQsYTzwFAUbSvsKUDHUkvelP4WN9VLt8zN6ECUHK763sNoGeRbLkKcwURdfifOJHGo+ZtsUkFxCnASYgV7VEnofGrcu9ULYDfqtg4ZsM2fZ3dczwq7XeaeXiCcNudEQEJPE2M4MZvJSzO9tiLMWLXyaOnZ1G2ZJQ3YMAubB9EqOc3CCTrnXqNzE1oIBKX41VeWx28Ogx030JjtAsn4Xnmu70MITxjnGK1KgnTO/iwklCFvC+myfD5jXnILnVDwk6r1DCjQy1Q2uTmEaVqIPiaGfJJUqRCcCpLJ6Th3pR2V0ZjcJ5bgrVxj+8AhndNaG5dttDAMoUyKw01QOq64jAzuPz0m57UK6ikBY/mr7x6CHpbig3G4xeRdYqul6WQJpQJWXq7iR4b+ip2mP8tdf4vDmtFStkOR4sYjFA8nyuQe9DmSoaqSqKumJFsRlgR5nh4yRc0+tpmt1eGu1k5kbmHjcqyKm6aV+ZJhoPWRevC+k/tMBocTwMeRsvyayszwdQ/LtbxKmYADY0EtwijULkdNqN2izM1/CYEhQaQ7weIoK5vh8SiWFZ2zFkuBmTCQJtJPyUMCpvLNzBbTm1KCRfD7rknRu9qDMP4H5kwQ3gRbEfWVh03ldVVpa4x7a0xTOgSMuTJj1XkNTxoFuIqOYkivbIvnrvJDafzeL6LCAnhBSYqusKaXs0XhhDA8uQ9BbxIopmkWwUVM0yg0wuFwet6jFI2qNHoRYf4dlaY4hb4iD4cXGEbmRFTJOsSvobuFLRRhO5bWqRJ2WSpV5Lec5rdNFd3iTE1yKOJ2ErnmIkOX5tGzxWuAvWYMWpuK5+xIlezizGHYBN/fNSO5bpHu/BDovDOJkBHres439WP/MLJvK0i2SHdVXdxXpwVccqchqzBNV34W1rXRt7B/tmrZWlTJGjOZwymRc2aFag2tVrH5ZRTUE1Kby2ZTtL5L42yK0sXWqvw2Dr1f1QmLJ+yASfWtoNrtGByYSARJSD3wloUFZpr3ycWLQZ65cc4f4aNStqn5/pA6crhsdz5PIGyhCpSgGBE149LlWeKfpcxe8XZcHEm5BhmCXxcCm/NA3IneYE6JeTC9GPnC7+iuVi/x82HH75ObgDFSZZ3q9DPcZnXbOpEnHnRHmIpb1q9jLCbCXQnGxNwnuYAQjkzx3GEtyJCca+4RiuITgt04tXcV4J6vfnlcwj63l1L6ztPhGjS3cqs4rvC1ZySYUXJZRZBIBMsl3TR4xpRpdtCyxJtT9eiytC1j7BtcjJQecAT2Rj7ejZ8UvdMhnm0H47SqEClPrijqalYrEIyG0C4LdtdI6E+8VPAkzW/lbgxUb5XJUv4MELXmUsFpjkUFcZ6ePEX3h/67OxtamN8PpuTNFIao6vsHB/LY6APzKANVIJAdKUTDWQ9Rw2jWN2aqguhtHH0tUfrjbqPJheYXSWZoqa5so8dcHXPIISvg/+JkNTQHJp1wu001MdWz1wPigBWbIy1RXmDcecWS9ThsYHmwiPagtgUREHo6gdISZxtenDRROwIrVG1ZwIDmFWVjAWmI41VSvgM2BB+MVEd2SJkS1D8rTOWoi76t7v6snlVJS1a435J8HRcvu8x0UxodOCGpqtcpshP6MGahwRxdA9sOikc13i1s01bo7oZwbS8aXpK4YiRZez2bwUAdzC/AWQElHqV4/k5NGjkHeztihIqD7OvEnqyy70cqKzkOr9fW8c+NQRCU4PZbhuHTecy/nolY5OrMZyoXSKXDHafbEy7tEhp9FksLkEs2n1KoJn8d4/mPHKgAVyd+2bOvX/AEluQBhtGXnigrerVMgYXHAlBcvMZeRVFGLRT6f/iSvZvgMjIsfx8BZ3LUqq9z8iACTY1ARONdrAaGc+kUHrGicQq0qplKlojyHMaYDE2Xl2zfnkD/562tOLNUEDQjEjsWsliz8VL0ebLL90E0WOMjeHUfnqUb+OGGH4w6JaR03AfA/n9VpSSG4k6iE4ltt5/HjiHk9tzJeePwbBModXJwJOD35X7hH9Ip/E9bWlyY8rcdR/S9fyK9GMhHFZM1SEBXOL97Pno9RUE5iPTtt/BV5jao2Pe6HHmOtBANc70Vd1Dn4CuuQIW+QqkmuL38Cu6PdcUb44+aB1F97ETIhNOl72Cv6OuB97iD+Om68uabsljp6aZVclov2zofRULUUit8zxdNV+m2+gPN9ixCV4wfSW0hr+Y+tbDo1mbxH/W/K2TQrztL2jcsef8MDfW1HxOStKp4sMdofLBRnVXl8zfvOZkMV0uyQNuMe1X+I1LwCVQngl9K7o8C4IqAPMuWbUdWNeARQuaEXWnTdXxfxeTkwoqZox+kscgPD7XLx9tls5TRRIU83J/NWuvcHgMNpXy/Oqnw+xwiU2OI4SpIr72r/FZmZLGczhKBOQLbsf1yZAWRsTZjWuEMrZhacBFIkjwl3cWOwawbZUseI15G3yAkZ5yyffPkGEYZvmpyTv4joAvb63OYI1LokXLxlXtI3e03aP4LjNDOBxxr0H8IXsXtcA6WgsllbIG4QoFilt/qbCycUmU4HWez60iDo857QXVtHgdYJkaohVdSE8PSkQKdLLy9r5375bDFhxNR6/vK1U/IokFjN8SD0dOY81MFn+zpjN3EwUP5vK28gQbmSdfgS+LBm9Y5Mq9iWJb0RIIFrKH6HkOFnZg0+dVTOAksAM+DcMW9aHfp2qcekxDmBbNl/sMQn7AwXl7xjG7LZi6OjoqkXxsHIH9DIpdG5MNlwJGailyALkZH0+kstpcLOMz3QSJpNrHUdFswQ4mNyNkzG7pp2Rf9PwG0JEVjao/ybHpF+VB/QkHVaLY1hDl50eT1yzByvGK90RkrREY9WYsd+TbeyPi4cvyIWSNe3vcFU2NNDN7WkYEHVlZoVyAa09BG2PiI+Wrh+BFyjarILdCOu7lJZDmG0RK5gYqLvTA/J61mIgidWNbQWiVaYA9yzaeu5misjIQ9C9yv+hyka1PhMcwTZORdIuXEpxMxTpj4d9qO/rA2fEH7Ot3wxG5ic/J2Zox8LFmmztd9u42Me0Xn7cjO4qsYi7+ggbYbnEuDCt7hBI6D1qmsa5V9lgUlgWdvB2EQcR3kf3uZ+Or5wRoU+3V0feghgyAVd4/H/oQW6m1iXTSWA1rq6tJvETFRQW+1798RpS52j8sz0aQiXocQ30Czv9dksbQ85shIjy9HF1Utlb/b/9W2SEMd3YdjthXijO6ZR3v6Wf9BaploSqj5nXjQge/ptOro7Wdg2gRnq+U87HD4khmj6WDRX/ecn40SNGbls0GX8X6kXnH1bF1hnrusvzqUnEwNkHyVjqt6LxSav+CnAwyYgmVarGFoSN1xJ6TzI62Jwio0mxv9KReaNGanz1QwwAIKtYUGNQWJVuAtKnjHAQSbC6SG7gPsN0Ps0bx/McMbxRqAkRLwELQX3UUZJy1MC0xBnpD0JJRjt2sh5+YjYMsQtUaBKyTz5YHw07FbU5hrqYAI9fszF9obuNPhUbk8+bPyS+2tdWhcnodHcCUSVKVE4cXYEqwjpwvH7l7E7aiDSpQ+zojvvml748shMNdnADu9OtcPM2ByVafc1gXnjbUxKBxU8Slew4dlABQkc2qignyPjDOHSme3cQuJVwtsx8Pl9NctZt0XCZ80c6CJCQYbikTYCbIOPkCFcCCN0tFBWhUrSf+BlkEGD75wWz/hWpXmfS4zNBNLT7n8u7HbCWtirTVlBJXKOIzdj7kXTdXAKH1sg3M0Ago7y8KsPn+tUrVsp8L9VOUFwInGHE+o8SHvfthGga1XrQcJdBVAe+4o3EHNhuNSWFk/euAJViHn7ZpihdOQmRBpT17yhpZLQmWmxE0VK2LZQ6k+ZZ1Yy3RZHz7rdPfLsMar5BqtE2uhj/Tyi+yxHO2W1WIEBLqPYdnNkDW8RwZ4U/1PXp0bcwtE321Dds2ujRH3x0Vqd3/Yy7e+8nhw9tejFvNaU3jxehxGay3qG+rCG1l/YTz0MQgf6UrxkHUakp7h/JjZZth5ELQs4KnhmARZCEk+qMY6v4SPN20Yvg8YZU8Epj/a72hXzA0BNmRT5GZWtCUHXp282bKp4hK2HD9aQ+y0t0rdrzo6oLndbAd2a2KoMR5tIAD3ZN4KztEf3ThLQGl2IFE8dooelxK0eNKPuQhvcfCgR8ALjhCK/+z2jxHMNoDUh+dJKw5joeL29DljVjkC/R6D2WZYpkRZbzbtQ3CXC2DMcVvPPM/R6qW99DVlYx02DyaAY6xi0T4tXsFvXXvCX2NWaFrVKNOkVejqiyEjlXuHwooLCBbWmY233TGWI5gUVHVzg0ke2qGo4a3bFrnPww7zUIXg884W3MaflrRet1DNFZOtcRkFhss8G19n+7FvcA0JtBhaRwyWR+hjxX/0KBei5Q2e1M/ZGYN9czq63Ktf9j5Y0uQdtD8ULy++V6i9/ZRBis3JakPrXcRYyctCXMUmuF4v5i48Y0PO9VqanIf9pPSiimvPFDIfhXs/JG2QYf8CKcoBeydg2Lznd5A0CfQIDhGxv65fKu2pD8QldOc0NhDe5xQQnheTfXdGPzY17A+XHA6bbllybUVKc2mr30ak9od99vFz9dZ2tiQyZeOeOOnvWp+dqcEiuH2Lsawt72yAxqJ2g9sb0Pc7S8t5RMTaeKNZ8PU4tL7JsCV+koBR9HnBjXn8npfuoMOuei789fFNyAgkgX7DmQ2wBB+PcyuKWE+C2MCCaCVEbby9DBeyeJF2OnG22qfiN/5pMTszMm3UZbPj+0f8Y2w0fuY1QH5ExtenPJkXzKzCqsJu/CZ0y+YAKSSxjX6xoP2NmWA3Uzvfpd1ee6q2z+gUUBWDerWVRfcpZrqxngIsrw8hg8gfYXPI+f5GHTLrSE9JrAo8rU/98aeFKNq7vIamPgU8+bDoDoVmHo8dFn8Qm17xb9rIwDRbnpYsvenG/8nBo2hcAXHPp89rM5VgSBGzgBHi3C+8SRBLij4yUCInLue1xpaD1fIXgihOtMWaEXtzOI8yDmqFs5li+7irqzPLMwBUIKzD+MqGT+uagMVq8IY36is+eM9hDMWpOzR2ubetNGHZo5yX1O6JnXCzOayTjUG+gVdEI89ot27o5xH8Cy1Uq09i0cdDbq2v2wSfFFvLMKJBWxTMRnh6O0ER9gTRO5LpYbgsMTMi/xXAYRn9Mc4JGWGsNsDeqbIgcdgW/ISe1C8oDONrSOajV/D5V9tHKKHlLSV/vEp/zmRnWmQ/tF4oKdfW5YRL6Z1PXBjxoVtkDQ8Z+cPtfvvHMVxo2FflahlNLeaX5Qcvnpy5UfiXjqtE6xsbrZXa0yq9NnZW6wfvbJQd1BsNxh1NODYsZNLn6KpAi8QYxinqXhiqC6kq2U4O54dJ69iTF7M/LdfRbkSo8n06qMryp19N+8VY84O3yGgYOOnAcmqrVDOJdPWlK4YMj4hV7tqbyITO929frkEL8UiAHC0ZT7io7T2ggkGWgF+RO2T4MLAoFTnxd0itlCwOMNjo5LKzNYPTv7iOHrdMElfbDl6HoMCSOf5aN5DxWodSd7alnWGKb1xpv5mykemD4CGZpS36gbnTvKtFF2+N1D+3EF2tCooJ5uRJB8CJJ1NNjHnMS9nxpiI78c/9CiCcuCXFrvYJu3NZ5b3uQzBFp/anb8wH4/CEENc5/mEbEid2OO8HGnUWeHXv6U6R9bFiEEqj9yOvpP2UPUfgutS1RAB98EFj1d7ysmG+gKdVXq3Wr1Ylw2wB7qvNLG7eBYT43zcLYF6U2cbnBWZBiyAbLYwPasqicE93E7hshyVGWdb28JZ+EyS5RwU6Ac5Tt0WcjYsOXK/istg/a3n9QG0TNEX/v9WmmT+nTQfAisqTReR8QfsRZ7QyI+3SXe7Ky5KYU9+bAHeXH9rzYVF5Gg0SfbDP3lT3LJSpdzWsuGmUTOoeC1LhhEYCXK7CRVuwInCOgdE0JyJNeN4Kq8pl1BZHzgnXoTq4q5+dRl1zCbHqNA5miO8ei283kYJ3WPtfYF1cID6HazXct5bXnwjM5Ey31jtgslVDv8oHy01RkEAv9h3bvwHt8wOCAOxxsCEnZUKJLgvuY/ab7k46GDzVqff4JxtpP3RibE6MmZ1sQXwXp7ksikbBCw/6M/uIZgL1fiphOvBYyPMG0w6nAuBtHxoXJZ9MAfy8jZOOFp8qriyuI90Jp7FsfZpVUYEhS0Of6BhecDQIImRyhYmMPgn3a07Xd2OXJYM13ZVO6cyBMmnPOcaN9Q/Ov6inB0AxCq7n53hPI7yo6LZnccAqKKgk0ESUhzDQZH5DOocJMjx6ZZmunTNPiilDvQuzPYynemhiqI25Xx+DHTaZnbqi8am8lP4Vvc9P/7lGpm44y9pNZ0k4/3LcQjKK4P8QbhWxVTKU0w6WbUy2ufHJejmfrp1sjedevNcynrKdSm/hIeSQ7pywRhSUe+eDWcnPNCqzXEsdUWQxLpxqhHto93mDpdBxlr3m9BS8oiHVUKIKZgQKa28TDEKEzbyl2teDLwMNYEZ2AmPYZbDBKBlMVJpbmXISdXDG3s7hDMeeuaqr9dwPCLSn9qLiUafO0zIM7vOfJwwxuAS+6KXtkVgZ+JIvUxjG/4ADPeRfNj604uS078MZhcfH0o5ROj27rR3fDYSl9Xh4AyLeg2SBvoi5XtFmIXgPIRVPePhqg7wN5k+Mt1GLDJkWKpxXk0Q99XsAvBx4GEMmAH4xYlqLhJQoDnZRtg62PfkbmfcpzFFEW7ftaMG3tsBzXC39GKjsK64lndLtXrgmbkB9UCWp2MGSAFIwtwBgDDdFVQFyE/mCKE+msD2hyPUxeYJZZNYo0sEBX0K0wLRzD0aK82SeiNOcJGiA5GoMm73drFUuoy6ECjW9zrQRT42GfFIaZdSZEjVctPRbLu/KrsebHyFFObx5VdFV0T/4ZRsBwvhtz8kX2/SHsBwFr79c0cMT4BbaOIyPIbaYKqFFS+r/P5SiATFXHpzpSstxUqCqwCgeB8YfhYqQiV5aHXQ0TY+LIiUVTAUrBioHIrXbdi9VYyoTnoz3Dfu34zOLHTtrbf5LXQBiRs0lkINI92eXx2UmpS7R8g13/IOiwm2dxBtkjjaNzCHn01yxbTYHLSjT8igZ5092kJL3mM9gFlBau5WHiIBVLw6e3NbjIUouiwBtJLP43szMeylwvYYtiIGO/7QF9+5AClwTDeS10X2S7TgDzTrQGeMCVm/OjLf450yJhiIxYpQJmuhWuaeI2Cu4mmtq3EtJYmTtnja63ULiwyGGJw7ULy6xDKPz0BX4Ly8yHL9H2CEr62v+S4zt87Uhhj5vwlrqaqxIq/XauaCLeSu0I08yxpIulE7ofP3DFcXdHaRMIJUCSezu6c9VmtnrO0tWKjewd+FpMkfg264+1mgONDy1Fcj9BAhIHC1ZR0WlrLWNJQs4d5VYkD0SZUKqASqOyBEL5a/CZtC3PknvvSSsKHl7242+MCqpfNafX0lm/u/rj7DtZfcEFr9KT/wjirdkYsMh0tRfnUOlUXreHIgVoDgNjL+qk9QyHMf1wI9i2iJ3fsc0ngdjRp1IosKw/7syLn47vWbw5t7LeTmhu9LnOal+4+awLWyo8lrfCaem24IsmUxszaD/605N8iJwkRKgMH9bhpYU+m9PmEcPBVg1wj3WdZFgEs8WRlJ8DC5rnKzwQP2lrYEc+H5NGuRQCDzZnqsNMp0Kk4MkQ3iJ4LSlpnopIseP/5jeVDOIv52R/kj5OjoKq8eejahq8+8aJ4ENDJmtP85nMlkMc/Hy5z+QWHR/Um4IwFhw3LWKBMARp6wLh5qZB9QlcLj5fgk9H6etpy+oFK4ub/9Rl8JV2TSM5+272X38f2aCbEiD0VHnMM6TxHPlL8NoJCZQnr7MeLhHJyhdy8phANB1CNHW0gH2WLgQROts9QMLxK99sm5ExRMgmti2vxa6RQ59b45idyoQEGjnRoShUE+KuseZ10YScfFE4zDpmM38p2YKdWivYrQL0RjNWDkZADyNI0yAvlLutoX1jP9vnyOVQ3dr3E0G5Lb5kj9JovwHoAOzTlWxYWjdjaqmf4bz+iuzLBeOV8Zc3muehF2C8Y02TCyPkydi+oe5qI2elUkTGbTpuM5NO9oeAiuWM6yzPFRnou4rBcZFCw2QAgF7R1/FrRdy3x/ObklsxruPO+OKwQia1ao5Yo7l3xwyn27TcKsjPkVoiootyR8d2iPf3+wV94AwKxqsL877jHFekICKPqjWGs/XIE8/YTNFBlH9x2Bgj6KBxs1bA+H4kdhHxjRkomcIcbvcnj28FmHj0uSABLkBIV0B5VlAKSAD9Xwp6Hjx+Wi+mqFrws1cU7ZRNru6Bb7b09XntCvjb5UEnLU84BqHwrY3VOvRqnGmTae5jAYd8Opse5mieoVlosYdfRW6XuPUtNfOR9eFKKUqU9a0DMnoKdeNc6jzE+YdZBkmsb8TsriCyQhLrmbxY88kUZKal+cfaef5G5kM+CqFxJydILKRv9Obh1g7c2+fnrCAnRZ5TVRJSU7rmBc5G7VwMPO1P/oJZRcj6KLRtRaaoMkttcDzojy6xDG2XqVdnbzBbujBI9CDBhyHEv9h7gAdSDRY1FPgjJcCS0px+7uubY2rqLgFSDR40dugkr33WhQAWngwd9i1wDkJjDN1LQS4oKH4FCGfNfv8gRu2viZ5ZXWrdmcXOGxYWIVJZfxxM3qDC66uvyaCMi1IT8isK/irGud7ps2qn4poDraFVnGEGZqXgyxOhb5Ve4nful95dlq9sQW2T41M6ZHK+AM9UXvStmt+Z2AJaeMd8Da9yQjGteF89M1tUU6I8ytfSvcegQUwmBALNcHCrlmP2lqf4kIK20E3jOcdZaDmK95m7oTt9Lw8C4GCdKoPuyCHyrnHXpb2Cb2fPPbR3QcmLYMAB4YjKZHm5Cc8BteOpN9I60fzG4pCPoCx6Tt5kVaEo9jsGEYZ+82b70E0KZfy1EuEkMaQY2TSUe6dhXBjGGxhoWmaJCW1X3UCg3YwywbetPxbS0pgYsbvzysYhtoWTcPY8a3P4nHgAOqmlBdUUV0slAexaeWJpB6rUHMVBA5zPDZ8WxutFJWn5lgLtruzsYZZcp4oZ3jrsBZhWM3d6IWGyQHVlLzzzPLuoY4Ot26doWPeKvTOK3lfrCxuejS07Od6q6dQZ13BmWKS5ZPzr0hgIuDMSsgGl3YLWkm5dSJdI58Xzu8kj0CKXetVg2jRNiIrBVMegbnk+FYqcev/8OLqA/nVXg6o0w5RF5JazT5/IsiuBDU2QyfnH/fJIargWQ4zF3dBD6MHK04243UFs+p1nmSoav/OrfUJnWWv7P/MEYWpHaVQlmNcxKZCastH3V4Al3Q+ytOv1GEWNDUnQQWeBLUcY268F6UTWwZdtSudZtf55YskjeJHqtYhBl6aJYtozewDEbgY43ugClrynkVaMpfI+Jp7paFAKajgeECzW/eGi0rumNJu9ljQgkGd2USymaxxo38DTuUrF5+surrsUA49kFYq+2pkpfI2KjBNhMH8L2nTvb/WcTn6rhMpGzFnQR+Md8MYSwyEmTFHbh3vZmiG3pn2/d+YJclmyJkneIU48RZSxLYNQFZf8rNEzkM2aDoWypoDkUNOXoqRAiX2zh2wzF7zUahtPzGtbCJ3QXiqwOniR+g38ya31fLRF6YBIIN9QBYaG84L2/JZcD70OYjOlb4ju1e74XaM9O3pnhguqjxau3kDBdfz0FrgPEJGjgkd/bPQ46hICEeoJIyq5h4hizSoi5xsd1Rjczymk2C/7Mfc4FTFFKbL6EK2b7SEJ5EbAt7pMVQNXRDTA94qinmiz3YOPd4Ky+HSgmuPIKsvGNGZiEIz9BYtOEaDc0Gts+J7ekue7g1jw18pw3FUvBOQLMqACj0Kr6qeJC/kOhq+XSznVPDtv+Lrr8l5GhE/5IdedJqiUlwBca9ZS+f2z4bG6w0NBaF34P3DyLg5v9dQskDrJFqWsI9hvhCvVJvFDkhHZVGPMDq29LA/W/c9KXWV+XC5XRvKbBCXwmbKSEUnnQs1jkPeFy+/kYlAXo0rjkd8FSqjfnGX82JWXXhjUeyOlC7oToZ9bDvcOb4ZPyG/+bbDZmKZlcTAGr7o59Vtwx5SAq7Do2f29wwE7a3Y2QxUamRPgIzyFjwok0AFRmAfUck4L5bAhl2IQOij5zcH/LI13vJYppUEdneT5HjtNsz+6DEWAwP7sZ0Q/ylDIhuXnORDhESeiahO+h0Lol6ryq/2GEyg0/Isqcn4riM2f+jk9Xujzt41ZwlJi4D31DdVh8Lo4ux4R9yPINsESdAr+DAwE2tY4gPsuYnPJBHNOO8gtcNTRiICOExfbxGgIKgTuO8Cn3hTPaCXUYDyWLw5vyQ4vD2U2z/v2C52q3iGLSmEtnbm+Swu1Nd9Gm0FbeUGD4qw4DCj0QHz5csrFFY3Ea7ShSeRdhGF7NEA+01+bVfOs1/O0BLflvfBggEYlANDM20uySQMCyucprmF3buvgdZzfuR3nNFLKqT0GGWBmM22bC8XZxEThnYZ/ECKHlTvUoUo/9te58+02glfTuLtgqKiKhLilQljFA9PXnTM0qeHPSpNOWUOtHYI4AJzG5VIYJ3NMntF6dsZFafOtPk6raIyabAwV1MAmntBfnA7XDOj95ZGmPVnEbu3AUQNPAem4XreVDYE2RGVhBVlNU7xAPcD/Zjuhe/brjrzL2aVeyRrQ9wAd3TQOmmajoL0RzTB+UL+A0Wa2oDE8PRUlNQKCTp+Rp2oM7cxg0jCRrXnk37PsQShJRQRcCuCnRQzd55q8B2Qi8U+JUHBrGvJPEMt4uaxNBZz5nFOePwPJtp/LbvmYb7FN9vELUZudLxhM0WOUEDDLuNkjD2NySVTLjESVxpumVfCqD8u7TMV9M1p9kpyZsvDbo0i0DOu6J2tQLAELYr5UU+T/PGizqNf0olespQ0zHiixTLoZeE+WAmx2Wdnqnq/jyx2BOq2J0N3i9SK2udiBfNljWntsY++KJmb9VRFInxdGc2LMDedmBsD4REArAQ2UXlBsWRGmRT96RPiXT52wUk2n4G5vPK5AWFSSmzL+M3jUAbzsTGzKChtGM+kMSGZNNIDUMZdRWO4xQHOPWY6fZ/IWRqW6Iau1k00qJum5bBJJF83Uu4sYhPKHuzZ4CQUd6vHhgumU647zHMOTp4ULiV//zZ5zspFPsvgVEaVGuLyZ5eP4EiQmToKmBnXnbJNZVcTgq1BY4RhfLUN5DDKrD4/IBoc8uPtrW4mXiLqGW3DKY6qi6hF/fgzIuGderxROdrC4TBPHkEmOw6iNbvniee9GYNsQ5B5/NrvwG18HYq7S6mTtw9A2UGXUy8PTVYr9PJGy4WRYalkE8DrwmAFdC6UQHRgWwXrDwem9EYNj9EcdD8Hs5hsrqXYsvMvy7P4L2f94DT0ccU7r3QKIO9E1OhDIQYhTu5Gfgn1367EgLnLUnqexIimVvFIoVqfXZb2vTqJ17b3/IkBzJ950Uk2oBwufAocGhiEocweEs3JG3MbHpuJ6XlGmsPqlueg4EJ7Li8SeZ4ith9D4K83iAegpZBsuWpXxGMU0Ew04i/ShClb0I3E+QG9LV20UqE6h1lpvE+lLAyhQZRqzK5jusRDwRbP57SHsqoteyx5nY/xLgFuGNDKiuBbJ0EA5IPekNZ8B75ElBbCiNsVGIMO/XP2xAiiWaF73wFQfN6TqPeXm/AvvMpmlQ4LLUoKpsYPbf+PdHFOTPs6wL0AJ98uMg/7lzEAlKtJTZtFJ7JnVnjCVCuTuYu1IsFHMBG5ON/nMlogCmyYKpGX4CepenIyKXVn7cTLqgRQ7J53vkqlFVtkNMGmfQVN630BqHzQUtiK9FsyX47HAfMEtvK3xHgNgdjMjELwemavdBA0QIb/xQL+T7jbTtYdVdEQkZMSsBwTAY0Xo3x6d+QlPqwJuJDKUdbI/koO79MZQRsa52ENXyeDHP5VyGSPGoPPj35AO/P2QEj59YPgEugBtenR2Xe0VwkNBO6JWkCjA7L7ZWGp2Gar9kRs666gObF/NWha6/tmY8ssx5DG9U/l7aRD7fWqYhZA2smSBFr31SA39mmWr65p5vK9JXhMgvJAs9Vbh1IPLm/3bEnANSBe/HwjFx9Ro4I8w/RBYc0WCzzsQoDaCw6lCDXsYLDTAAeKHsS3PYQQNXcL/9P7hBgmuy+7LbJUZZngaAqhss22oTuaFiGkLp9X3JI4lRMRSF+QZexYR4FjzkaOcj8zwpBSDGrfPFJds6XFTagiJs5OXOwzSptN0PR0LylVPWVzuDjiNyIkKeagRw1bRTJb2fghtr2QTj6pLteZqQidOou/REz6iWLcrUOW90YbFoMGR8Zh0FWa317fmVczw1n8x5EAJjhrkWQDmhnlyWDvlYi4257i/kXSECDrUYhSSbZmC4hqCXkeq1uVTsmGZDN+O85Dh4uJ0M2d6v9zU1rvOP24v916a4TUzsWIw+d97FkkGWBFLtPZDUKx1lyWhCoVR+zxpYTh6r6g9TtQu7mp1x5TjG/FL8bnyhNdLw0jZ8mzXI0O9x70d4w8CPVR8XdaTRV4JK+/eeU6p/8gfHJOqmq5MQbe3dkFwMF0UrCDcuZlrhkHGR8mmBXav4+NHFkfDUI/9RewCnzOmPC+A+hf6a8mWPpJ5uYRKcbRCn9D/TjatWEWhPz/Res8XuY2HgGadkm4gf4PPVR9SS303e0dND2C3qhNa0D6iRbmuQzF9CcPpBeLOT35DBXA6RHipUPmKeuJRtyS1bf0BYRMP8g/dFidtpgjM7QKdGKbXZtzTVq+XTb8XWouTPLxsLS8/dcBpH1hROj5lQzuXW0X25Ad/4o4ND+nyBTTYIEpxByQF2qQ/sJTOJG0QX2hgxnY1YjOTPJgyxpIYMvzVZmvw3YWeL7BG4/oHBRjS5VljcRiO4thstADR4SgGEByeUQMHGEZFDqROALHvufz5WuaW6T70aWMqp/LrVZHdIotM7vItgk6kcNZe4qpdw2THe8OeWeaacNWnxWeRaB6l/H8zItQMa4L8lhPl3eHRmBbo810YHCm453Vn02ZsmkAv4lL5RnLHJ6rLe5Q7YaXvDNFiPb/nd7sV7Hz0I4z2+cjM9FnKpM74dGFtc+giy9skwQZOW3hl4hu7DKZAQqcGCKJz3I35CjmYjqnKfxrCjUg6Kuo87ushxky8JzLRk8WWaDAPP1RmTqQmw4Re89qdKeayqM3GU8Tg26PQqz4979tUN93MDhY9SlgVHXic+97reiM+7Z4gWuW2g0LP78HhMypUzkNwJ7aFfkwLpBJtSeDGT6Q4/72FAA8wdX0qERAsa4YpMG5XtQN7VZ01CAs7fZYvDPs2rJ6WR1OSGwA+7mgV0smAJnsCbJoBsw5agYfSG8NhZisndPsWuAPK8jxPNjHLyBBB+OQVBr+F12o6jl/3VKB3MNRuWORnspsrJerym54dhM7GJh5j+0E4duFtigVIk8JwUnGyM4zVZS2MT9G9zVO2OTu7lXSLFGeUtSk2gR1F+KwSCSi2vMf53Vw2vusLWoW2bmbO4u3E3SOIiW4W5Zlfn46CP7+Hnh8q2VjppeJK5xLuvp4VrCh6buUz2PpI1J7SAphLS0ICH+R5tBLXkXADRh+BI4+AFuecIhnMOglx2DPbxBkwI/4C8UXM602QZo2m0e1xevs2qIm+K70g4YyKI0tFYwYqoPVhHC3GFO2TGenjdz4iFfeTlgxbjZUpdTBwjBnWBpBfIMzTOr/HApTvFM+D5WPq24eOWeh+qCdJNgvxmVNuVZOA+A5EBf3KDbdxtA0DL2pcvwWGyJohWB0u4sNU1dyrOsOSNJstI5PnBayXqUl37Kz7Jr20ED5vCQkKwQt48Hgwnqn6EqLcr3evbsmaAQP5ppNopSIgzpLUIwTzHtIu3qrY7cMdjMzjevcCe7ir1wjSypr/Olb35hOLGx7T2vZsDqaEKVL+pxyUXT5eb58sGrkiqSgaQwzL5Qmcjhz9rR1ToKImfhDANxfFznXR2bWm7I0+Mr3hEcOEJoWwtkZmUlPmADNOj8RMgCU6fFszJAGiqtRuhCpjwq8Lofaoi+Co4IDc7E9Pd17gvF433D6PONQ1lpJwycMavlMAUgioMhAmey68GYLv47qHw3zZwBt7U/XxN/uVOO1sOMTIXBpqLpm3B5axmgSUcxHkpqVdfYVnSeQWSzAkmCvshvHa7LJGitBu2xrg7jid1pU++ojVJTFg5xubDq0MhoMXk88W9EWvrNJZtrRgAXlI6DImj1ENh4oMeICo9MYCnerdw+uQZmAYBezgM6NP4kX4q7qLQP2dRdu0WwdDndW4TvjKUxnBl8SWlrIMityVAxk14A7nHvVPedn0BGe2B7ALdRdDDx4jGQsgMo/8cgpXv3y761PxYnJDxrgfHqsM++JbIUFqa0S4Y3aqhkSAFcOWsR3z/DxUCPFWg2UuG2IB6DsIjf8LJyKDt8xW0dnfKGrqFdlpC9ofB3FN8AU6g78v6b+KJCFqMl7VmiRoUcdw/CMqDE+SJ78KBvuoFjNIb+i6oDnpI3aBn27vuMYEuxWfiK6hMSBV70+MKwJwaws01UXWvRXefVFT+QCIrNgA9NhJqhfYHuyx85yMhsPym2fGwDoEQuWaEBxK1Rh6BTyQ675LFOnEGVfupvxAwERBndQSoor5RWwO/EaJjRZjMzdgGrRswo68VAYWZwKjRyQiOgQwLaC0Pncfnu+RcOQIEfMGs5850MrWZFTrmrSWh4aolfF2Jrw+VVMeMDrZ/N+yDgbSVR8dxzhg5LyxhPuPZWLQViYpryDUWLz6n5+uid1daj4w5kuDpdk1wfeGt1JQj6j9Qy9ukME+e+ZpoRydLGw53zfycFEXngJGoPCV4tP3xBMwnF+xJde/fys46vCg6nWh942bjS/b2t2Rf5nDtkgiOngbcuONtu+8+8rT9gyEjqA9sJvhWjlt8ZNRC7KG+S9Aew2hmRzMvtpwwl0CNhul8yCK+k0MoTpkT741cE7874eeAMaKdPcIGBB4/FAm52OOOsv4e/3sBbmwnxKvONxQh+7stMpiQTsSfCQXEYKDkITsxgIvsH+8II/3RTw/MXQLb5NpGvozCDQ9uVsfnGamLjqrlpZKHhfQStffPT9JwBEbBZUB8nptDaaoF5USt4+5xnKDG3EWYnWBz/wgPulPBGOiKVbAHViw2mb4KoCUFKKw8oEGrqZcAgLnXWJ9bKetdejdIx4t35qJaMfY6pWu0cGMJKnDE0kjGs3sdNx9x1AyRt3nmBPDv5DRDMGxRcm4qBThgPFv5Qvlc1aFcfq8tdDfkKP8mMH0F6d1u8OY3dQlzYQpaY7Lxb2teHyqSdcWjg9gbmo/Mn1W5AdilpsOIfc0GDdxebJipjokQCpYmjPnFnNzCD68I0OS5TOGY7Dip0RRJQSCFZ6Rxz+P5bH0QwUqSaiJIMBkAuRBOUlVu88VY5Yew15aKDtDHa0UmGmpzPkIFhsxwGKYGRPFFQcNbltR22ooyGzcTzVwylSVGVwLR9Lkc1YtfY4eI+Ty31yyBXAsdOaCRBGuerHr1fc/kVbrEdBeygHikfdSQ3jSECOON+mVHe2YiK7R5ytV3psHEz6rB2XbZfJdoCTyDufh3rnrHzIryAJ8YOl2ks21h+yygrF1SIlsA4Ytce1eY2CFVcWBwjcelSx3ZTewTVTg0Q9mFCkfhwYD/SisUIN9gGDNbSf82dCVqXqo9/G5ZPQUdPtGIsezWxjvPhOWbGcE+yuyceT7KY5WdX1XaU+/Q+vyvyoJ6AUmevr+KwHeT7qpV7rtQLeH0yj9YjB739Fel2Hzp9Q0kPPCWTs7IYo1NKDzgiwK7zNX2kXxlf5RUoO9I1tDY9bTjT+b3yXz5U7AzAe6IU1gn0r9ABJBKxSYNKBGpvnW5ubLO+7KRIg8US5ftFuic4mxRB4nRG8ZYsSVwCPBOLxiSfvQN16BaPL6mcmGlR6Js6DMsbRzd55MDzt66EUPlB+oGrf0LZ036oqT+MsXBOzXw4nywyJUUFfR8MD4dcGKEA5rwEUvg9WWxyr6TJk7sx6lmWbBRDolOOSnAhwal8E4rYlo5hh2Ossj4Nw6Q3ENhm/kV06vbaqCiB3raeXuynW5dr2eOUw+ROPduZhKVZmikUr6IgbGreIqcr8wmsPbZcAlKKgjCRX74672mCyMgBRFctExVpTdDRwE5hdvzEgn1CQ0ujs+KLYk2trbYGEf+bbgBJD9BwnO3vqwno1/SteOFEKG8Um5D1vIlniaG5uiKJlotpQQQLgAe59gKs9C0jGbHyEIEYWJHo/g2WRD+ML1yTLdWFinLDpfWvnZiLJirk2bQvhyYBdvPDLhvfts3LXem2WjckU/4LrQkzP25Zu5DbjNHFn34gB3xqnra2BR5F9XwRQr1zLEHCyCjpPpqciyAL2ISQ+jfDbtEPxu4lbO45E9+M+3Rhd5V5OXiQLhkWKbVnkYEmO2LnGTkJATzpUljZnkUaqlSIY0w5kUC59ot46EORPjgncfqGQR2mh2G9uvA6SjP6RAZlBbfgChoIZGtyR/WlihCfMfDgD0FM0A1Bc5oEfStRgPqZz4f0aD2q4OJrXA9PYzKsBMVlGiDWUAhUeuAFZXe1Y+AZg4tt9/ieiGB6iB41vh48tu6dkomC6cLgbT00MiXIkTIyTZFjJNSf8DrxQfq5/falhtCujd1TnLfFD6F9bndwz3g3sExCMiI/93QHFkw0OnBbK2wYM24j8TQzdcbnvUSQz9KiPwAMj7fEpi+bV1qJFziRb0oeoFo8jl6JcH5I6vveTyTlHvQ1wUHv6Ic/Rm1kIN4/Cd1pFKVxtzY2VWDbDoT1Ji3pVHKX0z59qC/6tDRWq8ndsmPLcd2TvhEvw+YyY2ZmvxqOoQGLLK+sslIxusYWkFA2keu7dCamzHJDxjjFekLRtbkX4dL6lmVcxcmACj4IO5LHfz8zCGUF4BeCB+laHq/kfV40GkdOHoTeabT+3jkqERYW6tJQqb+8JIgYqGuFG7siHdVR/MpCX7zliD1TmotMJ+AdLlqnAg0T1IqtkfWCzAjNlYrmcPxrpX1wiWch36PhpAM/YMkez/9caLJoE+YLEB98yGbHDCtUfztzjUp1Jo6cpXBETZUPg+HBZQEq2DiOhD2/rhBtoXE6SkKQyIElTPGyunLyBkSocbgyj/IsDhVDk64dYbTF6lkW8aoegsH7juWzSekBfVDeiNoCbbrMfQ8pEtQHL22o8aJsaRs10WXI5Kwt00HOEfJDhm1CPgs4H2rFsnMc2G08up4MwX3n+HUqDbzG6eZhuHIrGnQbNZNZZb6CQH3gd2gw2Nr6rBhaJs6SUcTPyLfr4WYF12bc+tONOfdgapYEdLP+URh3QuemkwEU53wGP80bCy5EM2CEuXJUGDn4IjTWin18ge4SKlIpnnu4LTSruGbaW/00Qe/bQZahxubepvNhRbXSo9x0ydIuOVtwEI2JADueuBRHZTXZJ2s+9vVGQbjKeYdFHvGIGQ32DStjDz/ixNvHpwr0HLytr55x5usCiJoQKQmQ/8+iKWiZSUfVznGpfnRskeA978PqlQh/Letx4HlV/eGCz/NChsfO04lGcfcx/U0kcU6Ltk+6oZs4FAs3eeMNAQXzsr1t9XRIw2/e50UnPEl7u5W0vIhmoLYbSxA1SPgSWYYhf7lMwjB7RABelaMwXEcJOVwSyDaYHubCTLTUrByLIpIA3pi6YYEJxgXdGREURQSzS8QGx+g1l2Q2XpqGhWgDKfBAnDUX9VLP1Ne2lZE7yLqDWlV0OF/qjvVSTQFeo1JXZan2t5PoIFa9gPjKGWxf/QgIjCmmlwuLbNCQglyho6glIyyAlrrqcd3rd1FvCD3yjv3TKrs8wWzykLgdIrfDyBIdmDIE8mu3yWxHSz7xu14j1A8b8EVftCUnWxCV55G6jGzAbXfsuNUywgAAkTbo3A5RsWHnmehquoz/9//luzbnfP3ZQ5jrtd7/Bq0FazahYuEJI4lqmcGTFKDXAujfoKTDaBu6fDR3dq4Nvk5DTq0n7Ka3EfI+fsW5AxlS+UVUXNil2MHq6G4l6elpe00EcHh6UUfl/KF8IpZsUReBFSUgKkdaQlalOsKTcQwlb4bqFx5tvgo9Hu6fq6Z++5zlirsCNT4dWI3L3WwZH4fPbmQmonrzoIg1UJHWY61wGIEjaaW2ZjJYYMfG6MR6XJ4igAyNuE75d2Z9uhkQSNBigF8R/IX/KTIQrdKeHgiRCsjgZu5NNB2cuw/M+fPOhA5fuYJMLh7k/MJtxV+2ZkEAII8392FvhjnxBGygwMaaheZ0lR7xENd0PdaLpuQpbNQnMK7LCNUjkYXvcoAJhvv+mhB9D7RKIQchCif6HtWeCaMuGQ5rliGTrNB5kGmZ299xv5oQ1m21lfehhGNnH21Z2Q5vFGDa9nIAY/TR6ofGVhg+pXi5SA8HG4cPi4H9kAQ2DhwG968mbEESCEKzKqRm/20uC/UCV7FsjaGuhchAJYF14O0tdHSaCiYCRZZV3pxuJ3+gRkH0lWgcs2m9sXxz12G0mPFY2YqIF3FSBs2X9rEor68al5Rbyd/ieF0nWV2G2qBb5Du7m1/jq3qnNApye/P3LhKkVKqjL1ydoFVsh06+ER8nv1gKHQUE8gSBE+FJ0YaldLoeyyPkNBF0GfRB+A9nAVBisXoQz7KCYnmN7LSJwHBAwovHa10ppa5t0a1HkRcuMp9EfexIzFI7+JNPHkc4+itYOXmNu4Ef2TdeRff+ULtVN9y2tOJ8LVWDIr7UFHzwDGtaS+Um87325dEcS1Q2ZR6o22zfC6wHT9EslmB9+/QCSWy9/4GMPjbhOHjADSDCw35ZVe3ADjSMJ1WEW3XsHo6M5rW/UCz0FMYxXKBmoMa1C8wvjjiMLoPBOFsyQYqvu+Pfu1gh404Bj0RqaIoAAHk35mRXc/+I4bYL6+n/HntKFjshcKMFOHujBrogiY5dKiPEoBcBiP6W48k1faT8/G/Fc85Q6G0eEytsfZZScfKL6VjGKqS7WBNj4wQq4anK7Iwj4+ckpcGCZ3fDbs8SaE9TCXrZXMc6EhS/4HPjmTkT1ZanSBEFGAuPoDjdJNjL2r9gedUtfxdMmvn4ZpMUtFM+HfJitTipN83S+QfAdsJnqkWRfUfbljaZHb/a3n89gsaGgKl4QGtaoRsiHtJXVHg30Zd9SrmGrxzLuEUNMcsNqgkKT51PazpQOe85rg2F5mgfT+lAHqkakG5cKNtTohEFg5Sx45O+hT2UWPZdNd80qj70327RZbki0UVm3a0Etxz3YiXNw7xBQc6YhKzdm6s9XldXVXLKNFSNRxjynGLldF5fm1H6jYRZggGwJcAu+MlD2DPZXF85yMiCB1KA/ReDGhlOWcWLX6HJomVhr/3CUWoajwTSZk0c2Sn2715j6ykQpZUMPx65R4VupmkBKwWxq/ONM/H2p7/j8nDhdqlvUEyQbQXeqtrcdh1k7BEM1jz/SB1GCwwlTBWmNLZrpoiwr/YQafGOioKCRY8itnwRk3TrotsIjUrNsY8bZGqSS6MhwlrA+jplaUwrr+cg1kaEGb/CoWxig22afx80H8X+LSYcSWDW09Y699i0NvzpAY0DRmLNtkoxskn7+4xS9goS5kfwz+TJNk5mt8gHH++pbWPRcf6RyJSwIX+3ud0WkwAPhvCZrgmlYEhbZV0Iv+D8+g77PIoE1A6G59vZ+/YxSH1oo4Il+kEb28XIEw2d/f+i4FBGk55CTTi99utbEnJd7BFdqXHhRZyrZ9qbW5ZZdNxZCxLECj1dxhtfIlqrG7w1UTJPEKu7wnc9wlfqMP4F1+ZWjJb5gtG653HjwDDSra/dwu5dWCJg048LFbKpgRmdzs9IIVw8rNW9YK664zQ4wKHz72XYHXdb1M36/kcgsJqFrjXTqxGbnwTJwDgCrYbnQzpaIN1ghKy+Pto5YqHSIU1ljNSq/CTBO8rI9dQ7gzn/lk2l2hWtwbhPsDt8kTt2BazMpbSLuo4CY9Zr1IFZBosh9TOljV0nCypOmnmrUcdH0dHqoUbRudqWf/XvvPAF2StA/Bxp1Gr6H2rIl3USsG748HODfqfDc9Y0c8jadBcfY3r87QM8PJqOSgzkNw/ao/RzKJ36SSSC+VhjFiCKDhOo6ZPAcvH2P7kylmu6X8si2F94lkRpuhAvIMT3ZoNgBeHW/OJ9HbFLLJDWn3uILsXj6flEbcjz3t+UZmlrgLQvV1MQ8rfcyvYl0SDCANjLg1p+Ok4iPbJ8UYAU3EoqUSpKCnRI2WtMfVMMmdNGdZ6ZYcQ62C6wzE1v3jjsOlzhbdg3wlKCeiU2zwwWPXwMSHZWKx25FsF3VPfm9EF8Feo5ju5YRDPDDQUQrkJ+csri3IqDZjhemjEnlSu8RVDwBgdZYILIVJJHhWQ/5/HiXdxliy5QUfu7ZLje2PO6AZvpeywq5qvV9qa2RTymhvHK+wDh/UjB/TQBe9Gi/itAfofae3j8jvn0TWANuXqoGrAlQhKKORzmJwJi/c+y/GFVwz1xXtYXA0eUUu0NVv3Df9khcet/wyBeSeoH96j6v3MBdDGvoCHRe01gZ80QQGgTkURHxiTHiba2yLkElVEGsEjWN2uUUmYGDRgmmtz+Deo1wOAy0Mgluh5+8VL+WmM8tJwtjn7Zou6rLttOiMRPNwDv0RJMtlp8y13aOqzlrUEOGhsTZChET0XF8V40UQwCgC9bm8/RwXYTg4f1OWRnVdvNTbQcTCjKzQlXz60sac1bafC5GN1P4TfF4vZA0RAwoxiX4cMC1xP4Os8FWn7GIUJYH12EysniqzMbv7yvgycBvdgZDn3o6OQ2uqUgDhK6fZRUU5J0CphkR8/4rgM5lZakCB9iQ0UXUHGcEui35wwh6i6HnTMopZ4YVVqfqaN1PIcFn82gCCGhkVMnXQx5CArOmIcxTgC6iEPZ1Evs5isFciA/QYgB8iBlV9xQNxVUK9CIyxHoxcAt3cgg4nLJcYfAJOPMlTN0ew1jhjFsTxygLjzsHdJ/zuAD5cLJagIWDAk3nmjtyfDZx7NNrnMMg9HEKfiIP9zxeJCICYiGcWmwPn3DlIlCz8nGNHUDWss99/GUiUILACOTT62Y3zz0g3ClTi2OIxLXNIS3zK+1kyRogJD5zVlFV9DpHzhMKElUrqWGnBLvhQGHrxS3NhAX+dDFa/e+n2HO8NcklDak8TW7ujJHBCe3Uz5xcdtbzJPs4pg0cRsk3mg6kNhX7fk1oaZRQTUnREkAN7Avu07HuDo9BMh14q9JKkYfsRNts9ns8kG+avIfBs9NfZvoje4yFsJdMAqEiHb0cLtv8kN7Dt9e8TjjAlHH25jcy+ChVQFp6DXAYH1doDGc5b7J0NRSKi2zXoh0Ie21ESuVR22dXKl0U+j1Zq5IkiR9EX1YY14/F8bmX8hzrSLDTJVyXjsMnJzDN35Wbs6k5uJPdpI20Qn6X9UmwkNf+gEQaQx/97IMehc+cw8PCqU7IINh5+w7YdxG869VTdUoA5oaMOsTw84WHR+I/VOFAmsLcV9EDVseHN0rUtkK19lKPX/LtoiPcfOM6nvNm0aaHeQaobANkN8fT2BLLEnd/UDOelNTjXGue6SzRCy/nvO6m6AKW3CsWSLK3ySibmo1q6yKWWYlJ+uAYXSjVlYScoa52XsLTcowdzT59wcklUMqswxmtPSfaki94tTLbGi8xAco9d1GBO5mlWnfn+etOR64QU/HRAdXFUXd+T+zy+vUtjvtyId1vGe4QebYAfN2HTIKePumYswNL/t68boxNMtin9bWeEGM5I8jfBefOp/fe9+KtTB6EgEyqLynTtNBHpGsM6+vd+psutT4SbZBEc/cTw7aZ7ggSqPLYwSVKO8yjKaOkIdavR/9Yf4Xe+QFZiQcrjMEdSr63tUpmPyChlBUN8J03nfxhA+m0gaxZT580J0JozRIRlQk6Z542Qd68lirNENMDTw3GjaZWviqQithf0jUsH2DlKvsA0eC75mRVlsDepZnguSj6K0LZM/5f83N9zb5fGtFMgyd1lM424Pkfzi5X+hHKMZwr0SL3c+jfiLPyV5RmawgqlJKSLKLsouOAersQ8RTCQQIpJ/MFywDvsUiHIpr6m7sx73aN0pAANcnn80be1DKJmkrp1JVBAUCOmPclL12xWnvcQV3mEY/62l8DY6kdmMlopaaSaconIJDiuKN89T/tqKsfBpRLPPgcxu6C1GczIeDoIHaBMUSFkSgwYDxHwH/T6wduo5N3FQ45nsOkvUMryw2CPDaZEZcDn+hPfu0WEViofkSUpk/AgRh77YYQiVSZ5YA1unfXesLqxEHhg/XEKsjhU7UvyRbVRjoUWG5ZixFIZNqvgUqPoDBrEHIEhKui/Boof4pM+Jr0MF0dD3k5rWRsfuWcasPNNRnfiZxUDDHo2Ps56hDP9NsbO7Lp5Gd8rO5LSM4z6hvuOWR54f1bL/hFIl828GHCjbVecbbqi54h58ln1XcZQm0/eUCQEhhxvdaJwp812PaI/fcbfCSOlESdFXsYz/1GB2wuE7vgTPrmHOFuzrbKQ1zw0jpQhM8dd+M8SfMF+UOxavwcAZM6NfSqq8vEXMyP6d9uYVzVpr12uypmt1PN4DtNpMihD3jaF2THBlYpuDp2nPWgAZtAbagNlQJ801AL7IvmHEsr6f/iMNosW2j23gbXV1JU/Pn8z4/AlzOXscfwE4oa/tHx1J/wzmV0Zc82SDt5ZG4pc+gemhEFAAEqrP5nsTJsLRazy4XkBfUZPGPXHahzLsCjVNumBYAq4Db28cY4MwMlBCW9nfGmP92DlDqjsyCIA62zMtN3Q0TpiOgTAWV10FHPA6QpoO913RQUXXPdeomc/r6v1D9SK/xCm3EuuPDijdEhSW9eIfcGcEjyAor8L2DRPgXEXE461wX2VMt6WVDXj/GrMpovF/b63OJDs/aOUH51AzaXfItE2nIYEo+uRWtR5290kiWaJbplap6YMczrFqAS+I+FGelzDFjMnPDULBdSQrYe802XJFoZjF4OQBoM71+RqRLr5YVVw3gvLKl6HE4lnBKYSD7kHGryyuwzGlrfymgE+ZzOmEobELfcvuDz4HhlqAPGL9rAgL/xgzuCpTFiTDAIhX9IfnPzvT9capkNABY/4KOEAMTFzUkgi9uJDgHyjP6q3mN52wfr/SN4Fu+x07JSA8JSiNk3y43c1OWqMT+dydPujdwQZE5CigFdYHq+2l+JG3iDzTLV+/jXy08aAQ/9/6+n8Bv50XFsxe3spK7/RF8U4ZiBuzR/p6KLF7wYbIvhiL/+n3XkNLkni8EVaJUMk0uzKDRp1rLO12r2RkGBK2gBMLRFENMSTMQ7z1I63nUwifyaofa9lb1Ci2Qg6j0Cty8PATgwIRSKZYJ9L0snb/7FdBmimx7LcPoARRLz1HMEa1RAFEHg7rFZGHFOjqhA71xUvAqfd2dLBxZQsIRMzTszIBTr+cCvjNWvf5ZLKvpvJLqGyA+lY+FE7wZrqG0iTGfvmlJcv4pIKG2GPn0s9RVvBYxn+zVVG7r+sSNs52FxzRtudxIH8ROt6/DfC2NjZ3nz2V9mWrfDW4hSKBQ7ogvQ3SovFJil9x/vHsMS9VWGO8boMKXqsasji2v4I9HVBONqS5ZtsztUKrQDGvzOMuDON2Te0s34Mib64aiGYxjUpwW5DeeMVGGdpA7nulVIk4H3FodmM9lOi823SydqeAe7hqFpAVbyJZCaQXmToi7ybDJHPAG5j8rYWEIxn6H3afFs0KyC621rEWXRz/fjzddXQh0k40yGcbWyE7uiKvO2lR+uaK6hqZN1R28DQKmeLbEpH40QnvY2nNmllIHcxkhByp5WjxRQW9cqW0hku0dVgpsIk9pASiNsTW23PGuYWZ01f5Z19vGoqqqu16u7MhHAgMiEq8CAS5n2meUAakEp11BvXldth/fVlEu8h8/SsCvo81XS6MhXFE8wCAtWvfmmAJQl+66XKXr4SXP/XpfPkuip6xYTScKv4o7Woat1Re6ClQ7d1XU94YZVJrMZ1p5Rx//NNaNFTy6FtOAY2rjrUbuuvdLNoJQtJrFRgpXzUHTO40aesURyKsBcLjrnEnwMbafhjOBNNqvVG84iloM0VMeW5jTj88+7HTWQBQvskuFTdqzlRoYpTYJm4kRpcpI77rlIsv4unP1wrtjaxkcTTd5PF/Q3pPLouwhBS2uJJESzEW5rYPs5dOCNuRrRhpyEKWcmwRj2z6bsLbZNFIiAHDN/cAGcuBNFjDQtojNhXj2ChK0McpJrlEfI3j8dqFeLY2xMkEaper2iv0K+3l9OnJZKS3tfu5LhxTqQ2Yr+f/70tnZHWyxH03etnFcG+A3PZfnC5lRlLbXYzfM2t6YEvHwma0QUtk0C7P3zuBEh+q4oaqfZ0A9zJKC0dV6a1cETJRVI73LPstbOrUva/izvJhaTYu3+gBs5vpaYY1+0DI8vmX2ysjnr2dAp85Uz/kJO6DtiTm/JNkNNAursPCFhUYCzTJeS9N0SgJAbOyTdGNV4Pfyf5jSwVDGF245dD5F/xf51lhCqPRg6oNnoxWBOCpcV2rz7s+Y5VQRPaV24fz8r9DmTfPL+fjHTlstKeaQdwPD4kG18AGJLgjTw980hIDo7Ng3gSQbJcmir5+nuU1UDMrnI6SNBZsLv/1XxqPyhG+d9RDOMLwH+HgM12Lu49hY53w6QrYJ1FX1ECVzNVJDOs31nLSoTq0zX/adgk6fpjRzaEUlNnsnZtdONSFk+veKQQCDPsG3TCR2OI8SR2YNJeBb282gWKTDbBjNrt9Rks+GnJLwC50fzg/6l0hDzJFWP3fFoS8oGrq3js8v2Frmn/UFua8U/jnEhLiy5uDnLxNUjtkLLFo4cWm/2L7y6MolxrjnbAhffYErdzfkZlkqdCT7IbSz/CByrPFsb3H3e69KUuLlg24FscQ5ey7Hm8SPlLZuCxL2hY47BDIlmswexhvgChwL5UDMqiPYTy+LgPV7adH36aftHxo+4ybPblJx/F2hGMaZAaDt3ySIDskbx3D0GLrETbmST2AXqpr7KhVaOeWxGYJMm5r+fRUPK6GGhwIYimwiMs9NEUKbMrB50YQ3tZjJYcjq68cQhyF5Hc9mWO8YHq4ou32oiza5nYoEdStBZ0MII57fMnFY+RhhZm2BIln5cuDvr1DaisfqBCxJijnTDxaaAGibnS/sOzEapnWBx8mw75eBCcErj9XArF1bKOAzO6+ChD14R3ZlTDZ/KbGtUiYGmlP4hSuG8/ucJRyLOmTIB+8H9zqPebZftjW9+NM4j7W2ThBU1S9GUFKDUxkB6r9UIclrYkLag/ZYDj/HGzHeXo2rvdIC9nr0NGuURDtYxVhdsmK22PiMAKdcFMT5CbPHN8Ksn99Q1vXwpJK3vtDUoibW906TH6N0KFCJ0641yi0qc5oMMbwZVrCdqU7EmqdFAVTTUOBTnjoHU4tytOUWVShKXlzgJSeaJk99FxhEnvowi6pftyvUJ6nZgMP9G1MnO7ZzDw77Hy8dLqkG+ZoLyhfUjbAeY8my2R/2FoYZOIZ8M1soKVLvZxSpxknBsV5/vCI0skdoqQH80fxTi5mcy1HrmcVoBOTT75mS+uEzzIGR1ikNMBG49RrysZxmMtMrHF4M8EvpAo3tdwGLjXMo+CRLIA9c6g8cMATDCcQ2tg/RMKaAeLQzIRqxJpIR5G8Fr8gjUTGnaAhRoYbIjhkeZLua8cmega+/9sU8WvlMjO2tAX81ik0LJOWGfM/jn6MznaFJMBjP1TIH42qZql92RWO2Usjceo9bn2og6v2m7s+zBhXeQUpCCtT1AQ7gAiaxsN2enLI12Cc666QC6rhgXBywhFNz8PFGAWJ0JwovS3YahQ92jrR6IQdGEgqCjvzd2CVDQTImyqGIPbC3fPO/qVSbbH+f4O43cemPWLUUaE3OKlukMHO0RDKl94GURMehtk6Uw+kKJs1fLUF+spcUqfDRx6pb6Nnzsow9ZmARxx9PEMh+cx34URMx3JXLC+yHoXMSZYq1lYt0137YN0C8hmYsGQfrLJlRCtrQTofORZGAVtYy33FjXEkXigAqLjEjRQaG8PCd1CKpLcx+lwYQd5vMgxVu8cB6In82M2jvpCWOL0pA2NyK0L+W293cdOvjNu18OJga8hQRPbv758f6ywFaa3SLoy9IIz4Oir32+gn1yXqmNgXkzWs5ldp/yXQ1kNJDPMkwcOWTgQNiNKz1sMuVLJxlcRfhLB4x9hzxH1uRPC27u8HFsdlRRC76d86zFfzcM2iO6xiJKbOoplE/L5z+227Vwq5SNqxZj9i0DSmvK+Y2lnwaYH9ns+eMm8Yg1iuLiq8cwBjQ97UQ08i5Jpk8IzKlrpJiImGDW960Xuu4ZegoAC/5zaUW1LS+7lmPjLCEgGX3njMHrn3nVM4Gbgr7/Cza/2S5vRQfdcelqrJ5IIh0oc3xP/N4B8xAv91EUr5muk423UuaN7a6CbE3rbWy3jbZLXAF5cwzllU4ULHsu4CAEbzRHoEvp4lVMVoD7f11Ds1ahcjrt3RR4JBz/UFl8W60nBxTfATHHQB8S+1Y1+/e71KhkZtrciKF1H6McngcwrQ2/Ei4woptXk4suqZNE/izh82iO/7yx0yq6Rbbd3uvxG5dz+GARvtxNZxMGS3KBUDfNu4mN1/yvMODIxa57r7Kr92uD+hkfGKbwTi45cQhzUPf6LeuZ6lVHamohzxSWOIW7dLRc9L85P5a8LYLOcJ1LbQz2Y4CfgLLouDflPVrqh/KUQgpQmXNCo1bufB0HlfydNDrsOFglRClgXmZx7IhEESEK0f6MU+6fn33aSEc3vojAF2OFj18MeFHMUibT97BkTn1NKlsPEZWXldJ/I0Szgs3FoAIUM78JoRJiJLYcOw0yNxwcNgN8xyIjzHusdYkswKwzkut5LseL4ggRLJ60PIAd5LEgvazYQ69abPDI8dfJB0HpcndXF6tT9nSCCl0P4cckFrAum82KlvcGztQ4vxteawmO1xygUAkE8SQGZWWCLUECpwIXeDmDPetdM1DYaZHgu8ksey5fot/dQhCl0XNp9GDPeReeR50sjCyx2no0/b2Ly9ZHL0NWCYG4umuYmvLmy0bFQww92ZKQfLxBa501LbitOS79tvaHaV00UU6HYCaMJ9sgXlagn2HlPs5wY3EP7HCA7sNzFaKHFG8TSttxAai2lw7F+RYX0cMmwPa6MgmEcke+wiGmylQDRJe9Dx47rR5fS7fjwJSuL8gcUk0dySx9uuYOCNecZYHxsZo5ZJAuOxmd9BWt3bgh67be9KlJuVbGgE5fSEhCTVeEF2kkxHZ+MamSdQm66B5wUFPrTmgeaUeS7C7oUCo4zZtOqlAsOy/qewf7ISSQmcYpH9EcOF9JqxIrfdcKV18M1qkmpCm4t0H0baRe8IA8UMy3K5+4XQlL16GXACLYWKkgLehYw6YFn10+2qyM92/HEDojI+J68yACeYKRcV0o8cAKqIckUGfOB+4vrddMEJddp9Wp965Y9filGvGcbagTiPRB4Uhp/Iq4YQk3hWB9ZOjLaznPXIxh5GAiXbgPAeo2v/Hp3eVimn49QXtOIW/4qBw6D73CAY8oS4gLdXoFlmt7i/DAPMNHgjTdjXYlXJY4l/YJvUWJbDrFwsu/SQYHO/QVGRzhOjHZuZw6H1CbwQ7j57Sl6B01Do7hv6DjkdEN3ojfXaDFn7ZVEftH15G7eq3tGqjLMWD7GX2AmJMSCLg7hQQqY9rMzxifw08HaO+DWoV4JatE51+Mop6EGBVPQvG8e0XZWbKQwpUbJRlNNUzlc4RBYXHVPpU42R1LgBL076ZC4ALwp1ibHeLCwG6miT/enJ5UsTEwedT4ZDXQYPvTMjB2Yu1fdVqFgoTSt9SedRCIkxmAtDu4eUkP3jio7dL9MbQBcfOC/GNqfriwNhR6T2FQA2e9HXEP/P7TkQJ9qYcPf4tvHYQwMy/q8Kc7kP5ZQkIxhZryinWs00xzjmiXmy4e3ZkeMLXjj6tO9do18aqlFgpqMp3OjW5JnQVPv91EQW1pTmaFHftgxfOsob8DhFM0ik9mq8C8LXzBgeQAlQ81qb3qUt3p2lx/WPceMrkCd6yOHqqY+rjHR8K6q5TWmiwTNa2lwk8qVOczJyJCzn6tZOGIw+45wUqMgCdaO6uCyklUMYAqPQ5zCh+kY8CrIeDJWW5dhpIaiaXRecG6hJ5GapVXCivRsPVJFpEv1Qsx5An8kRKBHsFnANpiJ4u3VLBqNSgvSvHdzFQsOPgmAaQRMP6q5UG6FVGxHXH7Ku7t2AJetmEvJEUDvYnJ2xIIAbHaRB4TPIXVuDcZTiozRyPKjBCbSSR/N/ep3oKrV08nTsHrZ0DZwCRvdNVCeDoNTAxfqfKLD+J+I/C88G4GjeUBG1OexMiCoulDJaWh345qgAvv/n8R1egnL1vwU81oh00pb44gXIVIRNInqNrdkdvCGPIGQ9mjZBDcEf0aRVx8QWCx7Z/F3eOiDpKWYtQnzUjaPds5Sj5QqYD6MwE1TjhdTPOTLHmkWQ6Sh+/ir8I0Scs7ZB5i3/EgdZCPvQS3eHoXRXT/vvVSzgHuHktu2LxmiiIhDFFnyQAoiHl4+/SC6jzEO34gFYBxZtbovkEUk8tzdhtw6ZH7qkNp23LZxORHjKm4dlPZmNLW6fHAVbQyRihO2nD4NkQSJdp7rtqTeFI/nhPpg078eBYlC2s4LovFcXU4SIrIkEbRNXxO92EVACUBlglIkUSP+nIkfbP0z2J6Bl/JtiVRxssJq7wfh8Qz3isJA433DV3z4ZC4DtNeucuTBQZjDXQLa+bD3K8kvfv1xtohKOfa0HQDVfBlZdcVeNO1lYWrc2kwp3pfgVeoS5C0Jvr55+UHSp6rN92gaCR2MuDu+JQja5UPTE7sKa6kKrnl42H7+U99nqlg47IanL85PKQHZsrmzFjYMTiDaZ456sr24AigLx00Kc1uzCEYHLp3ZPTnq1Bk11/LmnuGsOL1p5vSTt4dVvzKtUXordTecYXxGdQ77pbhtAK2ckL8QTwbv0lATTOk6z5BnDbVaTZJvOu0yZYZ4UZGu5EHtljicAGFnsXAuaWkIrP5hdi8hZcyi0PGn5AwZPr06xVczfvmHu+m+bNHieOwJZWGkTUwkWwrNMoPj8PE04oHyC8XE1clPjTJESkojHVKRPatLfgty0lUVSrWBXBPuq/mtpEDnRHHCZmuouzUXABORCsr0L1yAPZDm1Id5NrdadDQPgFaIJME5lf+FKz3P3Nmu/mJHEidg1TBIXwbDv/P80260EcVS8krFma0GoqA3jpRgUP8fMKbr/DoSqHCWChpvI0eF4sgwnCW05qu0edw0m5lw9cPNR/6SEy+kqLM36sfTHYlk86RcokbXSupAn01M43aJILJBAqqoiG/hRQuVTjZnAsOBUbVQffcZ4jPmzQa8wZIx3Ibe7gASOFfRfjakZDRpuPYmnEa8D0H8/bp0IIJswIxG3ETU2cjIK2gF3NdVSF+MuKxaPxDfywW9f7WX1BJqyY7GjStFNw5/D2cgLaXQdqlRLZxzN+0EkBjqNMULMR1ieNl82944UyOljFqMOVRAEo4a+mmZyL8QWoEWyCMYRgAdsBArSfGrdyIIiQIAfKYQzaFf3ryGYb9sJ1h/WyH1tCpTfCu7JQJ7GRLzGbXMwgREOTu0WX6sd4YOd/Sup+PcW7ltN2iD/YH7jduR7MZCiIpJA7wloYV8yhcBOJp9xMQudthKbhJvc8EWFYyZW1JJXayAUZa72lHmrenEW5A961Dz3BIEuTft1ndmx36f7cVtYkYhoZQ4NMuCPy/5PXk2GGo2sqW+6P9nVtT5yE1uKEKzhd+6t+ung3uf8aSMks6ADazdGXgBvgTPgub9x6ByfFSrj5n87dZ6Ki8qylCnHsD3aQ86+0io8a40zHjMCGci+3iJR1YcszPagSVCCdRp+d5T2ApOoQqx8cf55bFr63z7+s9cO++RZD6zZdZLy8izDAMbL7DGOyv+ry3xPfpB7ASHhPHGPUjdV0FOJj/ACTjIYn7Ki5Fos+JSw7MFkDaYtThnqWNUYvZkD0IZNxB/2zjqMM4UQ93OFsMVA8/sUF8ZN14LLwSITkYP7QLkm8w/p/KFyPKcOs4MzHAe0hiCZN+X/L0wkw5Q1kzVdaCswRsGzARR8haIwWewQ7xVkO1uS716WL6wFiSPX9UZOO0TCMI7NWN2IolJc/toEbzABJaOTfv2/1qdzKU7F2ua0fPf66dEPCjSv/zrVz3qu4S+8srwQcYdjuq2tPeQAkRTxvAJQswOvq06XlMfXfjMIcyyil8BXlgS7uogCK5I+TqF4dLCx3w7M62k0CeL5wNRCS6GeKyIzflw3F6F0G9orymzkA2G0vp88WMlj0wNTKznbqH1BGQxp+54n8d38p4KwiiOB2KYRFHyWA+qj58yZKUpvV5w2ogfNO2yOAP0WTU3yzT13G9akL7+6nnL8M4Y5Hp4aMsSqTnnNwIRt6oEc8pzCie6S6N8SvXH4JgDgR5yLFx3TMB60QnRqRvC3vqr/YjXY42eH0fJzL83CIa6e67nHcBwDv5AT40qnWdC9GuMNeD8AF0ZI3DXfU3qeYnUmHJTa2HnUVBXG5B5wjMh0m23xHuNXuqkOB9uIgIZFZMa1oXU9YDpoznaSo9ZYKaqajrCr5Xu69FhT76w4pm+1J4TZC9u+eENptQkJJriXLaj4yomJfHA6Pp04skVDtSPNNiAUktAro8Y0X7CR2mGk4QZYviwRQ2HSunizENkwQ9HghK613OSHOjW5IWCM+eSgSyz2Pm3W8amX5J5tTmhZGClsztgdu4hbNbdX/Y6CB3/gqRglrPT2f9Vggi5xXgaFuO+7UiJvAF6snXSLFpPzgrh585UuHeKllG5GbNOv015ybHFGFDRe3uNJ+11ZpMipBxUb8FYd0Wk7yTMsgk4YoPSPQ30kRiaPwt739Uegzl9240lkzO23RzfTnZuaNV83i0U6fzTZI7InGhKxp8u8EmPPpz1CNShI0KaCV/08a6C451Ga8ad1w51jw/NXwYls3IMsnfbU9k5ZEYiwqSvdvWHEH9C7VNgTUQmEPhdogIvEFc0caVVjgC5gEZKpvzIAPGO+jKNaW1KzeWDhdac49u4LEYSJVGZBWs9V5g6TNvFriw7DwCBoIrud8FQMZkk+vh8V8jcNQss+lF2JLi0+NEh1Pqhw4FlufyR3DzH6lknRqc9f/euZOnv1k4lsAs55qXt2vF0s9JVU4nQV9yFCw7/OI6+fuEVtbZ4eiohitnLYtQ3TV5IKKyc51PoYGcmuVVd7kHJOLsvpvSL538IYVtJH3ZbhnSvyLq6V5OQ7e/HCeftsChDfkCl/60hbERo8e/S+Xd3cEFdFtDx2CHVvCn3X5JbchTIpf5tSyEMzaEMu8/deDGIqYBiF8Eeup5IPDEbAWtQuK4G4uKxK0f8TOo5iSpQiOdxKsN4VUPT2TTO6qpo+p5C1BHRdOfoy2L4dqMl62rZmdc7nXTKKYO/IwozZ3sjyC5TVQYHQLDBZ2ftmkMRp7erlc4qx9dGAw6NXh+fsgYoZkIJlCSs9Ll0PRtvDXxOyVw1c8jJzxJF1x31qN8I5YGv3k9Og1S5925os7b35F9nCrtsWCBgGZxU5qRb0KbqCb7JoV71xU8B477cel+X1qbJSPh4G3tEzErS1zmtsDkiOjZzlagfa1zemlwNBebcxVXQUBaY4VeLuSDpzM2RfDWfdSlQ0Cfbxm9Xr2LHtk4MwNBfo4QlKZKuYRyr9ag4QwpHujjB2b99mI8X0mK5Xw+TgQ4kY9IW4Z5dXYwOEJrFTtI225JX36gNLNIUMHm8W8Otm/LWcB3zWr8fNaXLGAqVh2JkiiFJv45rRGy4HpPnuDUHmVWcPoboeul7GJA+27M3Hh8T07axWJyCxOUkItBlELCEFsIo4CD0DU5idKs9Hex+Jn2VIrszQV0fL3ntpnFEBd52f50GpaPoJQXy1WgQnEG1v6ikjrMZ4hMW8eO/hlRKsv5FGCXh3sHv/KkueXzoeFKfbw+uLS2o0fOuoNCgAI7M3Axqrx1bfK//cG5QoUxmo7inABZjs2y4rz7jITPmdrlqFGfjyoy3f+iEbRl5BSKITQvPOyxD3rLADu3BVDiRj0XTczgX0951ZHTnnOMlNIbaOTewRrxRz+WkExNRcs3tdwTr/NtlU5FcgjRhXbgGnYADCGVQRbmhZON58Mprkq3ANARnA/yYO2DdEyhIadBL4vXuzz+GDz+6LCvt2MMB9TTyFqFCAnAgLduug6LIr9/FGYrBUl5FvRBk8gNa1ErET3nqyol/Zx6NlYLeLEtHLQDejvSYXX4Bkw5yflQ44VsTuB5t+JACDt5AwLiudAu8pbmW/bvob4W6ydl/SLdliK1z/yNrGrekFdLCfjCTLUK55wyNxlPs0wud+4UXjUaIRSCeSq59UNG/0inGFSqjZDfpfrPDNxEJsqeU8IJtjIZO4zqGKP4a2/64q9X0Av1LOAMukqWyys+YR5nc8Y5FsgbDWkB+jwIyTvO9R0MQQFEfIiVlVGsWi1gBlMv1zoevn6dVpZpeTmWmvoXf9YCP5PkRt4IBJp29Elk6R/vBqINS26EtOi/cFcDXcpjFwMG6D/rctjYCPD8CQiHeANQxAfFy5wTmV1CAadqXaluG8RTSEAfO8apufbDrsjXFZOwa7QtG83h78XIgMcGitmOPCGUAdV9rN2t/Q2SWK9cql7t+bnTOPDJtXfTTPBI0sD5UNyi7L5qqsWzksT7yThCT2gFgEgCD5gmZIceJyYZd2URFLgLegr7p/7AhB8Mq0/XgsGoFji83AI4yvJAIbWYLgqgvQtcNAJohBvXEtkNVVnO/4Ccd625ELLlzeVg2ebau4urvRZD95h3wYfSJWjca7M7Y5jekqIU63j5CEJJm0dRRe4eSzgdG9rPuHqnG5qEhn4JNExTudWMaHsDttH1xeXotndKqVmBh2WngGBxCxBkHYY5Uo1Zq8bEZubP9afUK6p5bR5DdWaWd5MwK4KFTx7CUosYHS/WaiHCvy2jlabmdfWCnpHDl5P1xQcnBuKWuPT0uNl25wua5ITYpBlsVzUz87gWpJ3nRLcNsrCS+zlLLs+LkBJcYZCSIO0x71vcnfJowg6leVaYAXCZi8PWDcWokW9QuldLEmN0Ps37ROMhgHChN6dg2O2O3vPu4H71GvSllfYS5GVqf+eBK10fBfcB5YRrBEBtg8gO6W1G4R7PdHyJUWxeSeK/rgDkHjd4+TehUAEoPHKyTSYK2xQ+v3VRaaIug2D+ViC+Hu/dlNOz78Qgdn+OnHKrMMMdcIf1OVCHxZ4p+jWBXZ94Rgzn0HqtVShMsuFdqLfc1q+YlZsJnT947vOzhcR98WAX9VOybakgfLTbjMLZHDpyhNE/XTQ4TRWorG1KhL6QJb/iGAB1yB4lmCBL9qOYuTfR157dEuSh5IqfYknxGwuasDRX3rhpXJCTiknLF3K4b4quREittPgGVqX3K+BP/lU2B9eIbYh6HLJGyfIHnePKT6PjYcgd/7wDAxB0PeVTNCx240kcmQxxFzxAUbEDQLzdbk9iH1d9cZbLQm254OseE8OcExyZrxE2gKz5GtA3MXLHBmEKPwdxccSRzbxZmbM1OxoxXR1ljavkGKQE4SuUeUV1FIkbRzyilGCX7TQCsC3jfg0blRcZt3m+bKqkgSS43xseOerwyo7eQ8mEl25F9PW6m+ojtTw2/rL4Xgt0QqgUgZu0L253lSyInaUqHkEsc3wYW5iLWl+BWVXsDlzNpjfOXw5MRqjrfaFJ/KuKoFW4L0EQk/m+83rlWJ72/7jkDJNEZuZKJ4ee3T1KLHoU13FLF/zmPgISw+p7GZ2NuPY2r8FpgC2aMOckrOUVgNN5oWKHryQB5kLrb83yc6HfOgukgEorzaMHgQfZPRLICEseD5nk3syYe/FUSxEHLzY5XGgvw4ra6PehcTLLwKHOjWNh2cYi+VEE49Zex2Tc3VovnadbSt6SYypgCOp6nkT9TWa1dRsyvkE+a4hQbXa9xNjdij/PXVb8cOapcKjpfu0U1f2Cqj9FWpUjP2pulm3AWAbQM61qQk0CCZRVADgLOMuoLgNDSOzTg2qWz2uIy4SXWwlIBiVB4rrqdkhbDgcQjB1axf/imDGj/27+jzSDHMKiAdaWLz8cGYWVMJvXuNSgCWfny/xn8gnizWk16Mp4GhL+0HsA9rg8T33XmAw4SKYuAqh8l4XVv0sOb2Q9/sk7DNu+CeByAXDpDav5xvaCtYh+1CCAp/d79l8zNEfnNEtqlN2YHep2qZLJtMErGRhg3d2c7Bxn2U1wPuvrhiyWtQeGT0UDP/9qsZCjm5HmYakYrP1FtaG+qoI2/H9aj5KuyHVAOhGDnCn34WCn/Lzh95taN65TVH8jpOD9XGTj+0WIdWvS0zEdkmYvYzeiCWp+wC5se0hF05vnk9jdt6CKOztRHy7UYJ3J9NbY/QP4/bMVlIgikUTS7mbx8P38dERdBsUGez+Tx2ZRkxuasl0quoxKB6hOddKpsS0Jg2i2i/P+T2bYKzISfIOyTZJrKMqSRHBwlUQj1tY4e9qZcg9+DkEkhZBEf21GWJ4nM/a3I/kQ/OdQel7YaoFu8X7x1847mztuS4Eu5UD9XrVoIDp8TwsyacJWKyIjbf+R6+DEMOUShunB8Ah2+Zol6g+vE9WuAKHBBFePdQTJVjcSWgu86R5GGCAQMZWcFhs8dgtbCEqVwOpTVxCJJspthqNGamC7CFE7fvmRpIpZaK2cSNQq1lc0ye2cLAylsHj/bIJibELgdCBJrWQhHI7/WEZ763p3c97pHd/ATxw74gZwE/trgl+g+pk1u37RQi4b46sqcrcqhrRiGBxY+5W7gabiLvHjThGUhkz9QBDSDw1jy6kJH6rdHc/CiAeFfxdCiZ8HFvTHtRieLC1a8CkBbDFhuhqPIpGTnt4AG7nyyhD76/3kr7DEXQIjEB371HpwfC5SWelGkDt26CfIoWLYyABNWLeecbAoWxqBrnMsZH2UAaQBxhOeVGm/3zQzxdXYa2cqlfsaz0KNbW819Ehsjq22jVJzvvRDdZyG8td2YrgSjeQ0wtHqtxo6oxXeeN4LcryPNgtqHalVBFnXp1fUFElKBvNwjnNCXwzVqhB41qa/RjWxrSLKa7X+uT+Gwtbg45amA0P0ix+RsA0QGS2qfXNNxFMI/EFntU4pyj3nLjzNYVu8THeGte5otElNk78Cnsll48HLq/C/2ha5MKZPeABtDIF0kJ9PBT7BmZdkLbC7EmX/64C/qw14nSTAXncBkoKmF7ewjQpc36zn+Q+PUNEJeVmQO1eTiwwYYO2fj96M1aN6m67dhfeAEPKfSjWHERf9L58Gd1Tig1CRqhUWvCJQWug/8lPd4tt2YRFt8pAdik9bPxrBKq1IlVSfpCpeq9JTbIzm7RK/msw5bDSuD32oSR3qhnIpaEOgbGM6o/FUf2mpH+tHqhgWpU1JefNG8Ny9ZnUrmQxhKX4ASXTnqqOLI7N+uzgpLsbDeGFywcN/r32T1r9BzYnggTIKmh/m9mFw4GbIa2aaZUAXimVjeS4PwAJRedoOXPvi72GdZYmKP4IJ4Jl+ejXxBZkzMAkkaqEMg5CLyfOS5dKMI3pmKsdXjAIVImOlwFxnYeKotQinalU65dcIVjFoflzwulkokA6tiWQzRb9Hl+993To2LK90ip9IfPRWlWN5pZUisXXyzMRIF2r37m60EiCLlgyZIavkYdBsZQLPDOybETnByZU0wys/j2yL0WtLXmrv4U2k8uQ3UuDQesZ1+WD+bKRH0Xwht2h7E5bujCFKvEr2n8mm2t2gHW/wdFte+ZlPXaywlLxT6rtHIyM1N9+1lMYYo9PnX/s9zJa0oWATrgUNuR6FsQxfNDFiw8UC3YbF6CmGppmvXBU1NDoWjx7GLtPG4ixzTHyBGXlljNDo0O/doxt/XQR8qxG7fysa3rzU6J/Kr8VVEa6CPzmA2XEjW/hwylTHF10DXauK4qnds6funvaqyLQ4n4WClk4l/lrS7IJALJgbRoMcZnlfoKnT80MisgTj9raF0NAYTOFlF74lkzTjqqPbTx8GGiMEycaxP6TYY0nwKx99gvlIek8nwapolTxTRbyjZllFLInMqDJFn0dUSYwP3JAsyVIyzXNZJVKVE+IAzLzcZWY7ZGiwqLN91b/zFsAXY4BgrFDgF0ZV2F8acnbPvt3hv0CVyVow+phtec3yplT1pF2Pygy8sNCfOM9yizTnX2QD4xOgpQEGfjsVHLy+3GbOht7CGN3Dr14q3zHTQBELYPvFT3fpPBChzAwq0n6CA4Bxrfs8apFapC1V5BdoH3H3VK8x0ZVhjXDaiH6IMnLjVcwe+PuWBlGVHDiwg8hnKsWZ8CavknCRm8x3lWrhsJYybTdB16bsTsVwuNika/m4Xl6qx8IZT5pGAyYJ7NTGi5ZjIy+GFMQ3ps5vG8AUEWq4w4GD71sneLjBOmxVLlYjvqCeK6KOEjnEHHKtKMIc5+337dnVs3ooS7qcZ4TiC8EVqws66nh3BTQZPCwpxjjzrqratjMQQnk7As0e+TJjtNbQdcKCXRqsQo8/FmjSup0hSt3g29cSE1AkZBT/kOANP1AbE6Cr4paqN/kxFkWUWEHYKKYlJSNQ8PtPvtjC/xaJv6KKN1Ap8hH2wWN5uFVHo4h7gX36zmd1Y2RNY1lr9Ed1v+qc6PKo5filUKaERmmM5tl8zWcC2ViYVauPen3H78FOtiwqSAmKFrs9C411saNSpXA2vriIg7jCeDfY/96M2Qtdj4mrspGLkz9A8tmrW3r1+KEK1alRaNYsEFOEbXF7lgUhGBs2fhR4hb2KCUO1IgK41venX6/4rjFyGfnDb0p51N/aPECAaDezgKcponvKmqyp4Fc9kDQmKC1wXT0PtIpryZ+L6MrQLBhOEze9BmrnnJdExvv6Bc9/wOD/Pz5opsuQ2qAP34EBZ2XNFBhMepwZrQOW9R458D2l1ZDX5EY6ED6iwVdfXnzMGGb+duTyim/dgXIQ1EyJn/pT1bNYzfsSx7sb2wcTBBhk2MUetsacoUy7Jk41SlvYkQpo3B4gBLg/0KvCHu0nr6Smqd7zvtBWEF67O8my9zNlWtiF+c0ak9DxRUToSNU/nACB2LqvmhX0jL+7ufkQqwCgo3992jbaCpFNaMVs2HeRt79zM9OowA0/D+YQQWBrGkY25tynqUQgod4hULgKhXKA5Z8eu3GdtlGyXeEg3Akb4Eln9xz8oVzbL4ihZqUeB9b3N0mukX6q/3KrQsCjH7YIANlR8z+TCG1L1JNrHfS0q4uFTcFxMlCokhEfeyFDNER+ISpSze7q+uZrIxwUeGC/CrUvcoetTwohR878YDvAE04UbpqMZaKwraerNDE1sAvvXnQwkHIdPY56nVvv/AIY6VQnQCsUjnkQy8PssqkJkTnTb4u41HMitmGx+3JJztNAoPHOCEjo1iVNAHIRbkHM7I286qzMJXz7NaEBQk6z4zv8gv4KaiUbAqZwPyW3Ds1PMMBBXu4i+XyiBKPr+eJqEF6wdUDUL8gtIhCBvA1MFKRuMGGyDtFEWIm46MvkqA9b62vFRYCC0Z6a5twb8avPEqZIenNPrWYjV1fz/MlT0xuN6AxVsEn/2YiUHsQFrfWtms1nDjQiDldCrqjzHisFIpNkjO2ufLI/3PYt8B4JcPHCQ74LmRoZiFbz7urEzZJhE56UQ1vINjv/gbKgXg/YyRmV9/dbshnTK7FbY5dul8mub6PgPQeVzxPe/VhYy3bPafNon9CInetdAFtx4xsKUSW1+KARjgZp1DtYiU9ngJ8+44nO9SB+6tGU67LGNIvpS08+AEVMs+lRI7AuHTOdPlTZa1trBniN1O3ScP2fiONlavO0DnkkquJC4bgNHg5BKJlsxTtcMgwCI7iYIlUUG+An/O4+pOwafUAh/zM1KKbZ52yspCQMdY1+dS0lFx/Kto07oUfsoHEWwLEeXe+XNaIZJwD9+ZPSr9MuZGsk0zzB2Uoa1Bc0B10Km68kGkuyJdL9goyrqVwk8uOeHxdCf59ZoWGssykSH7a7fwTNw2yLKFE3qEH6d8aVmZjHXDj06qQ8uqL+2mMBGUjuppsHnJpcaq6WRseOLvrEq/tqQUs7xwlQ1RbdB3UxnEL3ww475MhdiGqwH8fQBYa0zsDMb+loIPGzqKXekvkGodaTH9sH20tkJQo2CETL8xrmZqKeI8K+Tr77H8mWVvAXAlNrLlbQhc++la6ZQ1vVyzVENKypTaryqzbdMF26KOymBeUb9Q/KwQTgU0U3zdRxAFj0JxA0toaYjInDyvoiwA3GGk8/TP0EKOiusdl7duguRFlUr8h9Qcysi0Has16xJKaZodC7hBlK0uW8GrdVpkAFV7UkT5FJkDVi/iaIBhVhZvX4iCJE1PlOU5FjeGfUr+LPB65qiWYXUV+In8wkfTKdtomZwefdYCwkyABOBetyKy4uswZkkE4O1H/pCk1OPnp6wgDuK7/r5nR0GCsAht0PMGTHJbCUPr4ONLo6z1AepLAt8/ykNMGFkuLLFFYGaWW0wndZ6EusODvnm1mEixyxK7dQ0BnF+xgG83Ql7oGLZ8x7UL0clRht8YoL6o2MpJ6M4xmiuwMNRMh7/NQivzDL6rt4oyl/6G9Pe8YHUzZj06pw6fSHHq59zfskgYj5iY92hb9shr3zGY4PLQc/QS35taV1CQmMKoVnCpawYbYfKhu3a+3Aw4PFaAeKQbU5jH5VUGC6WJq5b09jy3+ESUNeoloYxxxW6qEpey8LK8x7eRGoeUMBdLoDLG7IycC+I9LkUtURgmT1jBvyYHcq5Uz3voWbhxsZyA0t7xk4iQPhnVhEj5IvkAx48kOKznaNqHg0t3A6Xx5oFyonllWVykhRPh5U6dAY1/89jOKn2Bm5ySNPSFMU7WmPvUOOEeM7SxBjaNA39FlSslyXG4lEr2YHKkLqp3kQ2SFaq6nECYg6w9G2Qu+2qFO8T0cMLBnqAQEaqS/KwMyrbxDXQwkZAYWy0alUgNpexmfmM/a931OGJhrlDVqbOKYjaNJ7AEr/OUoVh2GnG0g7mk5qIvrpAWWEAbwh66kjVPI/X6/56ga5FC8rIFfr3hlENRG47aHzVqy2+iHwU4lB+8SjbO2WROswp+FnljnAKQfXUH7XxdzlA6+4vUuA3vY7un70b+7VTEI591YEp3BGwnKsppmfj2DE4DpzvADAu9fHKfdjIOr8IbejYU6Kw/GSVMWaZROwHH/CjGvsWkCnBTBC0fx5ReE4PMh5UbqdeWQ5iRGd7ULao3qvPFNplQ2O59AzYSnE5HKIFU0e/PCJMc1EZbQjsbhnWNEmVWIsseSjYtY7eWbhoCzC/IAo9/3VxTUOiynEwfrB3W9aJHjF9s3flSFs38E4rit5el1zA1xaVMkiRRIWiqrAmzAs8iq4xLtLWTESwzEqGFmShmFfuX1MkUdZLSx90Q4Mby6CyLytHF/TnpCRP+XK8eZBz3X64SyCjHuEbDn37TppJ53VJFgpcU04yg3wZ4prfUKenIgItE+Skd5zr4BsXcbG8MO0b1KCbSqVeF23XUpSMNEfoCdkMqvgHdHNsEWe5TSa4XlOkJ4BYvh8jvFrYMFTGz35Mr6WI/NxSVtCvlPzCVIfUVgXSC/uj26bNzY/a09n7Ow+jKKuA8hUIhob+41sQ70bF6y65dVlOTvan3YNJJGD3PH48XyYn19NMmDH+uXs47DiE/kzDhLfPsxvXURuU7OKGW7R70q66wyAJ9vqErYdxZBcKY+ClwC+cHeckeclFKA4EAgpYVMjM2O5r/n9phvBuYAL4FTQrIELEwGyAHoSeY0o30RpI0uMukO9kYJB3PiprezlUnQQHp5nVfpV+5XIINMBmZRDR8n5kJAV3Ql14k6u7gJM64L1ZR718zpTqKj2OsTooIod1V3pous8ySHcaLYiRLe23ld9e1FXVV6iYecitZlRocoUiAe7B92msxVy/UT8dwVvQRzJCElNyd5dc5DPGtozfDkG4tImWijCtzGjqAf1wVq5ID/Za3eMsBYvZQ4u6GHnRzvLKbn0d7tEzefoVX7qOwoyVjJBmNT3fBdd7o5fj9nG7cFAMVSbnFgVg9RZi7RBIZr8PqekE2Pxsdl+4ouDzizjtA9NmKytWlfjoAPZLN5Yd3AVam+wcF7lc9B+gnjpVWZ03VH7dIu9+3AvCn/ONsxhxWBpVbCL0tB9DKM97SqBoyFUSR3t1Vpcqf6FpXjWWDLo9O+X7LOp1j+zE9HtlSjLI5t3Q1bBsrAWYcZsUTmwKR8OEFJMqpJs6XvS5FWtilpBTz+wqjxkLwLbalMfhRBS7ti9KOENHhMRlqjM3utn0E5eTtlOee3pDm6ZgYx0ahahah+zz7atgu7QYTJP4TVQ6vkBvE5DbyKIoBvqGv6DuNRynW3xhuWbjRtawyHMAJOaAjx8vw6uwOQZKbAdnPRQ1zfd3Wmtarj7V19UBrWDVWHEmxrWR+SV9BxLj15141im34RTRdGAer34EKJbwcTKhUJUMuABr8FSNhf03CLGhhC8Vg+K/+ceKzFGZKEN6xxJFYlbsDPmTuhlCWTIDA8m5MNJetOjhENiGXM9f8NRCeqHeBC/PzSLp4sHQVgM2MXdXHYf3A8rGHgDCHoJH1R374wEQfAD70pRGiBzd0EyMbKiWgQfGlwTZ4vxNCOYeagZU3/hEV8Xwb8zYmvrKsKUaMTUgAu2XKRxLbwwb0F2ebNwwTkp3ryqE3eJER93YiaeOA4SnLCGypjs9+0wr/zBDELbPM2BBsNdTKgZxf1hQTkE7yMpLqVqM+QkP/8iTiRi09fFcpbFN5TPjiwRWS6SL2Yn8CnyOxY5NSQpqMYmmgnB+pLu7TNkONgYoivQuCUd/hSEPf9g0Yng7ublSEjbTZk/OAwy4lBThjmm9vA+GnjSbSVzd1nf9UoDtpmB+LUtnZ27sNc9QgA0vu9ElpiiVdR1XR9QMqrwetXwWl0agBwHLtld+xP+CwyJ6yBH03KoKEipggdEz6tLIN417FPtzIEuDzUMVZeKSM50tZ7H9Uecb0w0U0YnBjMAhGuPuq5kog6Kx7hvkHzByrQnDBvaIP76LUPHNzXcFGlkBK9aNqLzmXeW1ovZ2to3PW/9GwacIyh1Egn3FxbUq+IMxcbhZz3bwn2Nxe9hQmi22pY2rKHvU1C9QRpBUlG1NaYFsJQDaWNW9ebSp3o/EXdn4ruV9fc+tbtNx04e13i32oJN5iWQrFND8fVKHJ0/yKE/OE/63G2DtG7XflTNuJZJnbX9XLtbvEwi2eNoBUVMhuAT6639ApskIKeSXeHObHvgyVARttDZ+/tLxHS4LQjoqiH29F32STIdc30r43ABSM18n4AZrD47U5gVX1xHjO9qgcqsDNMCDLTE7z/pxxcZfb6wEq/oEmryLZ64wIpcOT5sE2/0Jrwn+T6SytnNRyb2IeXt/wpomc+b064FzqKP7Cdupk8S6nN30mVkNtm93rz1auRf+CLM6FrzFejUfaIXUWbKHW8BSIA29PmEAZNHrbAC5IYmrcA1DZh2gkVsj0o1ux/3c50jWJVviRwamsHuiHu3oyXO83eYzERe+Nuyrm4o6qrYk5is82lTfnyGqdfsD07OlmA9XTy2rMhD05bCWvNoGKBYli4tbAL4xp+LB/Nam/80p7FHCaKuYAWLIobYNQ6r69ts7B3FIYYg6B7Xs1NlQoXmVQ27uCaLKiX4sQOARN6SejZklFkMF9Fqltv3UfZyr0QU1fkZ1nBCKBXlzq/FUVtlFRZGY9f0/C8xKRP2BydOkdv7OJ9IKaJqjG7XhXPwfEdHmSf2dbvKWyuIIKnUVvkTpr3s+F5lsEh1qjS5LZ1cZx9BEYTFV9hjLuQXif0dwN/dOTD5hafChe6E1yuiwQHpu0lFTeqSoLHEzKFnVjDa7JeZEkLD2FtnbTyZHbGVIkaxcZsrBIXTGJ8qpkRMWx0lbWR6669lMd3vIr1qiuLphpa5YKmKEYI4a/aGWAuivz7gX0H131H6vPh6hwGaj5/NzZdTbqgdZCXXmNCqcsOUH9NnbAy1DctwsBrM4bYPlectyldqOX4iQmSFY/Y+PHbcxDFse8ZKKe8+caWgUdR3qUWbcvy/TM+/ADJ7yCfjj1xyG1g641rcdx5WRxFg0hedEeney0fY5e8hqgi01Ua1BZBReffK2+TGg9BGzh4v5bC38YgwCMXTyLs195EZC776gG248SUsutzkRbB9oJ6rU3mHY3Ukv8wPnNG6x2mTDw/3aLvrMWyfwi2t8qfUDdKCA9+twlMFZ51a2e0ZRBq5B3mCh+YvrOrywYr0UwE23uKUTEj+VieyLSFJaDuQKxJH7TXt2dEskw8SnnMMgAQV1ubgmV65Kj/igtgupJ4lCyaZl7dxspjrdzZ5XKC+FLrOIjYWB6HUNwm2rW0qSTg/se/QCWH1Ncr/JN3yyRlqgXR0U38tmdnXS3FMruVp+oCSHYhZkk33Bfe1LG1+Qi8ggaIca+7ez3MuIt5V5wJltR2TIuuM8ZN2ZaQISdPavXdZvve4bbGJx3u3FeoFmUbhxXsg6x+BvhGVKC67B2CC6NzpF390P1EXLB3VktqujvVmT+4zpC8mBKlw+wY5NzAynCg8pKFpISoH8tp2UiTnTsvrfHFWlLNMsFahXV5tgUx1SFxRhwf1yrLtADzB2y2R+A3q7bY61dAxXvDvOH6oq4be88WI4XjlWXnkpfu39/D8jEErOiawKv3p6gEa8Jq/loOm6O3dfgo0Cyof2jc1sd6LpijYbTA7QcgO2utCBL1dcgu5zz93r26Mepa9U4wfFZq8nYZVy/aLeAYk3BCnKoZEfqBhusQOf25aPWihQr5SZgoyixKqnh2xXpyNGZ/c5ZyNTfIwNpUB8vqCnI6qLb5jZY4dz5fPaYlqqCgKccnxuu+izXQACmLl6RoWGmL5MOtERCTNsePDdTy4NSzRQoSebh7qfEp/fdVd3veNKsKLBrRvcPf0oGL1yqACxkRmKLk4jULBILksZ5tF6g7rkvj5tgfKLsUBNV92E7zHHhQDiE846NwOUINgubH3FnPCIdlqOL2Y+a0dXo49i0mb503gtnjq8whtdpXk9l1QOdpUY8vccqXchL5TR/o44vqd4cC2w89mVlifemqkbHpNed3Y9NgNunm905wzG0ZXIw3fPsbIAT4NazZdgMnxlubp33jNFB2bu6czUagLLVzc1KQRH1VUCa7YJ6tpYKP4EeLuL9XafF2hbpOEQQkw0dJX3Tn0By1BScYTyatHt3PD3u8H7ivWuhUMWL3+1QaMOCADdUTzIFM6DRb7u17eI9N1tL65U1ywBL/5yLU8N8gp4d5mxntOBN0QvR3IcTUUvfyOQv1pdpus8TkVjULycvlKhMBcC6CvQia4+/2O2HL3TG/0TD3VHodLu7v5sR7WQziamfTsf+ZVettI+vqTAhbh2j+pl7nopcxK7xIqVN0a7HXSWvBVvyUF8kHr0I4epN1s7Ftcg/MYJXuKYgsJnLlalLNRmt2LsFtXQF95EWzIJ4Py2fuO23THHQ8KKQS9MWBrwOZfNLQKNIYzogtVcmLhIb5R5Lz1KxW1UKJJKSKGz0H26p9nzP2M9lKjsuklvi1EJMTGKHEadiuGMmzzjuJTZgutzEbZAlvwOJrqoKG+cmwLUWgryF/JBwpBt7VG4KDkbm7wBTJbyph/z41UVRqjvkhPDWkO/0wjn2lq8RDMyk0H+NR9R5oyOpVkI5IYj16hvm8ru8CaL3Os4vUQa/aCjWyI73i+i00jclXoBlVN0BzbDMt6emKxfm0atGW/nNB9P7LCYhAczidd+C6uomsK8UEoTGtnCCdQ2/LRBTWekVT+0SomEe5V/y8mLxiVy2dkmQHQxXgCcwSogQSVqdmzNwfFutKnWKuNYzcn17rZ/PFkzsljOB0uCM77415PXHGNnj3lBSy2/urNJQA4J0bjBoWrFCA5neaXNj+2KGUtmfvKV3vOg1ZQPRvIw3GHlQH2rwj9DViH6fnhGkjbg5oTZ6gXKFuSMjhU79EnSu51GzqAOCtWNuGqQu0ZkgOTP5XHBz9R6Hjf4pUFnZe38CL/NVdMCesJl6DMqW/Xdd7FO1vClLojiT4VXnrwpb8mNVILjjOo/aAIt+LL1RpVRYvQv1/8Y43BEyihbw73B5gKzA6par62OAtqHr8ulXDfhMqdiCheOJENyoefWt6ktwuuA1o9Ir/CEh6Ygws45MfET9Dp6xrk0X48+9tCjwa91TwvnaCl1/Jt8/wrpBQNW/1bl9Sobhvkfn0bRFKKMeNstw+JweqQtSTHzAfkR16hHuoEC7gs4XhjzaNXtnroJJROwn7eYH4W/5lgG0OBRL2G5C+TGm3TVSeDRSGFLxmxuRsePCfajqgnDvOpsXmZv1+n2neDE+cIQmlvIaoE8MPDD6mCx6jB3MZ8d8F2q0bjqmvxjum8kMZH5H40hSa65T/JWWmVC3hZlcCgvqMUtFttuD3DXWW4trmgI+taspLIHSM1mJ09bLBQRjKFT53XlTYPInHBmQwEeBDNyOU7HAVESp7FfJr299DdmH/VB4MYENI9rOKylfzQXiy3+4um6E8g+Mu9f7/IJKM8qn1v+qoiP8Xz5hALvEt4yrffSfQHvZTPUEFCjOOCW65jpB4t1Ws1yIcJ6gsOUybikqrqd2eqn7bzjDHlQOJB8gv82Mb63OnA1+gVBhmjxz0hO7uzKTq4YKRYey+iqWIw3AG7JRrvc2L3lD36K7nHEti5dkIfp0HqnMbiuNEWnGjjaoW9x2EuUu3IgnCTfHLTZRwehVLqJAiSHIEnQ5yPj6zGXimDIvIX0OYu7yXtr9OcFwCYrIY4LUWNVVHBi8i8QhezgLpwFDMSc5y9ZMIG/GprumhwBGYZHEJano9zsTyNTabe6DrrmfbKn0gc2wjvnYMmIZrdAOfIVuxWFn1G9K6t/HtFs04bFn2ZhchISP4V9vneQ3S5QeadDscf6WYFMMLyocvtXGlEW/0rZ6MaE7j0n2lrx3akIswvPmG9qf1h4wLrP8Ua8Mtygw9NN4KlYv5qI43uROJcGykwsustbxGEKv2AMFauOsUZBl9T98WjCdqv5oSugLLOwFZHq0QoXAvjgDa5cbIQczs5DY6Pp3xIkVaMSJUo4uz33G8nl6G7SzZc5M8eM41+RWDZj6V8tvnirZ+LWBhNtnVo8e1bOtAizk34lItcmg0OZK1+VhrIt4dgISn2n1IZRNu518UJgVIvoc14iv/wxC28m5MAJNbCBetIRV0n0kZrxB31rnDwh6TvER3rjSTp+VcYuMyLRU7gF1RdBY2wuWrcNUJtHoeswoQsd/M/LG8vnuhXPJh5GedTYvxoKcF0/0zTmAnH8+wXOQOYFD2hjFg2gUFMjBQxqM0ILyPbTehtIcmJxl0AhKomq3Mpkyv1t7gxtsVuGOgCtB0kU8WwHskmCoMFLJ2VNIoX0ncdCtwLkxXCUeJ7x9Im3ie/zV08HJ2PnIoKQt7l35qbd8xy5cuCw/HzZxlDndKLoaAbuHg5ZUVLWSujzvmaDKFmd4dR7VDtRxygqFuOH32G6sJFDGG+CTIvrWN5ObONLKVKRmDdRILH1kc8bzYAeZzK1jLV32w9fIcU7Kj3xpqZ+NsX7Nqp9DGDN4pCxUob+BDawIOihn9HbNgYdZ+O+fYtKZx44UXsxytdIgWgR1WCWuEThqTY7OVE64JxRrd6RpM2HIqDklmfGNjjdBszd/4GpcBK3QNitK+WBt+txuw8zPTB5So8aHlW3cw/ea/Z7Had+C9DW6egl9em4dQJeOcP4uk149UK6Qf4hiimSwBawVkz3M0cW7j0aFRT7pQDwMT/PnIWJOJG9aStH3RW1RrCT1XACaF5C6wMtT4eePyNvXCoLyzldKE9WOTETWlmF+BHcKS5ZWeOBhc/QYukn5o3CfSy1NvwZH61p/aUFnfDv+7EwGSTedODFuzcsQKpDTRHJPWGxfEaILQSBd/ONXE1DfAMvh2kCbGZ2/bg9ctvVa65YPyz2dxAeuuHdSYXaYzhjHdTixaeTXwUh6bdzbNCbBUHhux7XT9666jqbYllbPhbY9BJoJ/yjLB28lcCeYZ2UHmHcjsi+rg2gm5LTdOkf2Hnbcv3odbi0hfCZEJsmFKW1ZM274gYvwtR9lRSVoRoaWrenVyo3P6NqaJu+kXnacz72+QNmlk4OXDoHblh6ebvH6/sBNOyFL86mJIPwjxLoKeZCIrh3SG7xD928TaPeEv4ilSHeNsxFZeWAzs7NCRfnVPjwstJPMFqz7TlmdygLr9R/mTt52DnniBwURw5ESn8doQv/fViSuQHKU2U4TWNeoPdvdGCcpWJDtL4r7UytWEP2lMnct2q3VavAk7DbQTEHWuFGYZOUaGpbuGQdf9w0nNEy9SJqRR2m+EZfeEFeJ56D8CdBktDaKw5+B9Rw7xilb+sYz0ANccIG1wV2b+v+96lwjHbwaZvy1Tpc5uuMqn+/M1SgaAZQj8U8CIHW55kDlvSjZqN5jmWOo8UsK4TR0QHkiLhkxRkNY9BlM2aWfbateCDM/Eqa/BMMQz0LIuSVXD414TonZwP4P3jNC6TQfHNruX8v5UjT22kgSq8NPWz2cDGYd0LFr05lh0Yey4OdLr5517YIzmDLBZ7J8pYB8p5B1k5B/YXmEl3bQAzOdXoih3scEqlyfoFel70UVvCGHXWqBaLrI+HIrWHJJas9Rvc9NQZV+n5CvRG/Mo8rp/xyyjdzI3EfGiMDLu8wdtUQxLkiEDAmg8CzSuDaABp2w7hG2/EnAHVxf5QdEy2mQMpzqr6oPjUAc0ylRZn+tRAFMqA2JDtU6SzcGeC5gMkDhjTZcpovufqw2M2eehr5zrFuZy45Gwz/irzBqK90J+yHcaRqjmsGySLRyWAOQ/XtSGzw3Ke6G8VzGIfpaZsELANqvYW+sJrPj+GiUqwUCunwNbreQamjtwtqMBEm8MsZPEe772qJmHuds2EYIMTb8/8x5QTneZd7CboY6wRPg50+7O7oVdgVEiQxZHjGYMpMget/xqjD0Hy8xzB12P89oK4/4m1jinoU3EZ/G14CeIg7Bm+IM7uNBocpPydRZ/agKKT30XTpEoSZcGAE45/KaK2MFfaMemgZJ5GLVRotj0xhPqeS+gmRicbpqiAHNMEQYKdQpWGawNy2VWACtHZl7C8Nt7zEhr4fNVHtNyy86rwXZZ7h13EoZu285pVGont98iq9d6Isye89/8OMHEwPiu7E7DhVwbFD+MwOtJaLdQvsxRziSLqKolYRGMgyGxZ63yXnfzeeW0DNe3PE/SqdiZfkeV+rdCywPwUBpIk91eCslVu1JCMM0fZpcWusCg0qBA9GGf/8ePK1CZKpGceqOeGWC3hud4vUBI0NXq5Ug765WO6jVhGYOLJDfaVtrh1Pq5tcRvoKPW365U3gdOaSsAnN4SuC94y/ISutiFZmtyC1drKYqCcg9J+3GvPz0ccZIymKvoMq+CYs8NlzqBTI+2PTO6l8aGwmcBaMZeEV8sxOYrKPp6LEHneWr2+/Mxek+onvqKp60TRK7LNdvyl5e1s389HlaPfhhZyCTvpH1LFpywqg1xKn1HaWvks431tgo9k6yMsTzutNlxhkeVQP2gSZ8k8le5NBKo1pF8b4Cn0OtY2g8EokNVtoUMo7U/q/KAb9uQcOY4EJa/HVOciEG8uSDuNzzW+acE8u5YdoSCGW8YmoLDK+gSexzJaezTD2xnyreqKzWJ8FOkJ9ZeCqt+Kq6KWKSpLK4Q0WnW+gQMjF3gkdgKnIIGXahT4Y9EbfAu/jxSlDoazGpBcPnriYs+z95saIGru2k/WLqSGuCiDeOiGiaBo1B4uoRRR4lgLsdrSXqQcigkF6HbEd/vJiR1kdYQzsO+d3fdgUvIum5PpmdvDF5K0CyH+8yn9jU6rZKIcZddL7KqgyFDeGWOTloAQIUA06o2lwJDsMuw+xeulzkYSCloCmcBFKmrTNKMfA5msRzftrabQy8keQRednt3+B+oRPXiHfjHumXxmqG1S8s1ZcO4W7tFzsGSmeEEwQ4kIoqMc1dpixzVRdnG/UYShf4/ExSdA6YhAi8eKe/aOcY0IxehZckNMahzicAeVT+pJr5OI8Z2gbPma9Qq89fE7tWtUmEj6EAgsyOHbqfMGMJtWuxWtCLj1sEYXoqxHHXhm/Yc5DMM43ydA/B0oLjIUMFp+dY97uMEyqi+Su6Cyen3ya3Oiqn7E2RKLu46kMWmlc8YIn8aeOf9UfQQUYunisMdyYaKuuB3Ld4IY0cfS4TR2qfyoFXVk6FBxPDUSjxxoKXOUm3GalKb2btBVRfV1ULDReqn6DoI8o/tTXj3heSAXM1/o/uHy1vSimDZ5Bd3ZhRd+/WgSfUq6bupYNMttIPD2OqM6T0Oo9+F3KJ/ufDMBeu9WlHd/rz3YHJD/iE9tW7rlU3obg5Kdw8id1MFC22pUMBYPdY7PAFeIph6kmnzDyfFf4caytQZWeHjf/AKiSVzA55ngrakC1LRJSRtDBz8KfMWVkEhjV/dVsMyXWnbgBQbC9HhZ6hM3d+kqWHvPniveGEWEFnRcM+C7rxXnSsZwsSZu5w8hp9b7Bv14jiCEpRz1g9mniUNR7EbJKTu2zdYI6+4HvKnmfEnq0SixwZbEVNvlmUKDtoXfGI6rYHE23fcArSjrtcHs6DytK4qAntL/NxFXtd7yzcYuhiB/fts9EcEMKYNEVZa9ASS1h/uvjoIF98rmB17KzeqDFo2PzNDad0UpJNahl/VxRxm5svt7/kHwTkXA0ifKucYSY6Dg258yszvFbNYXOiO22tWCa+WxCwMsFLDSYq/TH0wKC0T4syOcO3pCyGFjJIwJ+daL1YdewtYMLbUfbNpjUiojY3iJ8JpGW6mXt2FJQrnCXw1MjCu7/au4ASopTPoiDN7XW4XhoSAEtZCiqvfpXidgQpw+TxuSpkffmAdqp2Jlpk+x3W9yOyrshBmSandRbPnJif2RfnwDSlG3ZO25zfhA4IkG9UUs5xaybROGNJiq6D4KaLI3hj069R+My7VWUhiloXYerNk3wXlJp5l/Hw+i30AHc5xt7X9cWFirxvPHp/mswiThFHJkIUQlHuxEcHJx9cRPdJgHRfmHl5nMrCk2/yeCWIYq51Pjgxx7qOeVfRKV0DhnbnOSN98Dpc38q8ZDZE8rGnOc3Id3vyh58A/8RUZ51ivW398sixz2LP4fyW9qLuIHnKCWYmtM/ocMQWNhQV9WbWnFQw/KnFG6BKeyesHQu/TyMb98l4UpRcTCd+hUq3RTSrgvZgSN5AqQHR1LzyS9o7RKk5iycfmRY0zZ1l81R7CZgFS9Dcs3XKMpGMt+mr4Oi+ADiW4tuRS1oH/BYa/ILT4TBSoKvy7q6RXbRUf41yIuXCJKtMyuGXsjIXw6+RqfVlvv95noIYPVPPeiLK9cepyLm29ttumnaiCs6S5tUzkPsCzvlOZrMyct4Ao6Ai9kaK1xQLykIWOXof0NP5niarNL1bp/R+rJ5LI09t/Su/zzXyqFRJD4laXlOFE7eQN0wlNmkmdS2VoA1AC6Vt1kNr89GsMfYoHhZjApZFiHWgTqYpsP4GIQNQ2ORiDSxfzRnb5RZIToEcH9MoZg6W/owMB2Nnk76eugX/rxLCshzeLkHu2bfYGiEtzUKXB94NTjKvIyWPK0JJRG/kE2m4M7WWkjm8Hdl9FLg/XlyAdDgeAzjZ/Nf38CAWW/IK1tXA4zWLF2CYoiLUnX+85sRA2KPzMBhDxSxTtOyBr3yZXfEQLDu6pRJgCgV+by22FQ0MzMRmMdD3MapTg/i7uPV23UughJB8nToWDlMvDYdih0K1GckaJZZJrIcmOZdjCLCPfdeRoIYtpoU2iuIpH2d0GJOJmMn0mSd2vcbApJuGl3dTBe/DWxs27B4BWUH60vp9UYMItlIBrDFLbNZaSJjuwwTRB+LWPeaZAjnMy9LtM6DSYlY0gODt8EcpkFPIzU7clsBC2Eij67rmCE4Os41nuZuduC51ckW19pB2hBmWi1+vVaYam3KTk7AvwR5Yxe+QQxXQryeVyVyNwpKupYrA34+e/FXCQLcT0Q1iCu72NWEu1dtASx7f3LZRMJyXEXcswDMzt7X6Xy0qAw4KXvz9nKuU8zIwCp65iksweEfnxpGcoDQXCxlXuyGh8APEB1LcicR8oge5ESbfxlmNi7eCdZHVEW4ndeHyHF245+9RsqDVv1/1sAvrEkzFhf9HiJvOcmFcRfa1fofsv5ebHXSWR6os31o+pC34sW2QBgTXpy/Y4VtZirsKAknuN5Xq5fxfq0alfHsVlOxrblVnHjECSlG3r/aosuC1lRql26o4Z9wRipsWUIhcRY0ZRtR5JIvZAONUa+4PXEt8YmtkQf/OgVV4sJXofZ7+ykXRe5XWhlhwNtTlpedJuGex8DF7pnd5oIgiwRYpx6oNFzeDhA5U/9oBsbloOs1OXFykVDpUKkRmX7I3X/VYlJ8PJePHxioDtexaX9RawE5R/Rgpc/QwcC+/3nmAy0OxM3GxR/UDGRQ+KEvEb9a4BXOcX0nvn+1auIzEQepDc7RL+AFl5xMBqhVjssIDne9cM/SX3iMioOKsr6lR7GGYELfOKo97U6j2eFYwiu3jrt89U0KYYXIVKIz7eDOieyY3ozrFK+h1NJcpekSGIZGcIPxt0mQBfe0v7+gsXEq4YLXGCD4TF6pd1EypHVzM7tETCzSgVb9cgouo3ZlZdKJIjNLbGGhnTNwfefZGxZv62c2tbs/CPavoliVbh+OTBAvO98ES+S12ZqjwZmju4mTEV5nztkVZ8UFkwkQugAosf7A72AUxbfJnzXFCgmSOBpJ7Rceo5qnBuc5XreqIVlVqoexyvZjI9ga5UZ5qvSeSHb04ygstD+kCL5wP7YTVf/utCcg/KdPTNnzGLiwc7ZzcZPLvSSSxuZAmQDcn81LJqITHzn4pWoqFCfpznGLiMSLQ/tyv39BXh01kfagCjrWe81Iz7J9pCqhJOLkEdg3uLAmFL/ILWurM99LENuNWHuzQn+/CHUSG/cey1urZkwo3zVAlLQffPkcc7lglGRTH07x9m+xtTLrKJY8u7Tvp3ocRyPb+2FWUfN+qSjnu6HwxEMdCWsszWYqokz12eNciWH0efGL5+NgwEGZBFU/XeBNPdms0tf2My30dXB7Esgo05M9zVTROi/eP2762KvekM41XyPO395iRqG4JlVmKM/cltg6X/kfvClK1XvG+rkkqkGoCX7WD6n7O4x0YgB9C0mSBZuQYA2Hrcs9BZFA7VGXoAeKF3evQ7WNTK5mVKefBlEK9kf/VV97UkYGNOG2PP3SasY4V7iaHCaZvNJFc1tdgVcUvhqrpL665uwJzDIPgG34UdCdLCxZb1uw4KhkwsEbzY4Twbr6Z58xTUip2zRd/SBa66NN1N7DQqvZxsLnlmLa/cd381uGE88ouBwu9KcSHHoT8XX3FGbLl/EU3SSot/XSfc4dWvQBNEvG4yGFIQaGBdjTRigsS8+77slcRHroXc9Xgxt1ROiAYQ463NDuLOVt8GUCU9CGOr3CK8gGFvv0sKOwjRvoUsux5LcioChHpaVGnzC7oaLCSHL1wtFniNX1qhra5ALhXbaf808Y/Ic4yLYBuaZGaIjMg8KSUA8Lb56eJyjugjRBxTksLh78HxhhyD2/jKS5/G/0CtUOFoyzcFGb91oJdvMtxXbq9kgjL8zNBklVc7SMMoGufDSLTGxPiLXC2gP8PR1+BEkar5AL/ukJiG3LUxThkLiZuIa6e9LsdHnCqVMqR0mruhMXUKgCBQAuTIlejjIYolBiLYxmpJh7HHR4nQR68khTnHs0RK6v/zN2Ol2BKyciPrQAqcPKGsbLkpGIermifraVc5fD8E7BnJ/YrD7TV97Hw23tucRIvbFa8TERlr9L7lYgWQaqBmKP/HBhUy2//8KlMKHxIarc4+1pjGaaTSz4/U5M+SRVU4rNVmM02uHOZ1g4fBwOy99Xwv795DTDQ66FNu+IaMinDimwiyB+9E6q4yau7cz5atauydUKCNGDjE3GNrVrACCOSO1FkTQ2kxw7Lt/cDrcINc1flPk7VRreR1lN0VPYBjrP6s12jVghXICKG4osT5ZHLLSAkZd3Q3aD+0HPUnRKvXvBSIAeRuXW0cLgHGhQ0gLDP6D1sP6iFuf9kmMRV0ZkUjVw/su98jHSvic9p9VWPq7elCF84W24oRX5TC+avTtADGnf9UpoSIRLqj/xKjM0ZEYEStZ+x4g0DifnUN9KA9goHco1pQwb0rKGXMcoF0LFicE7m1XmRG+wHhSTOgHXGovtDq7edV34HcG6rSwfYRuxV8Wp8xldwk3gm1TANxq8YtVYd9x/hZmnKZBDWIStg9htSD9xuOlNMa19JZqRQRCv9LJ0zQO9m0LNPBn6zRl1UcKLorq/czPXpfd35UxTirhYGF+NVa01GixmT0g0i2XpfRpZ219KoY5ZUNWoeTvzuQir7m+r+TDUsUaA9Ht/hG16TXvr//+tF/2Dvhafs8e9GbDGL5pDmLcoeoLQx61zszlI3f6goa+IutG228TjBdtVlPFTeRv4+fKz66U3C9lQFWOW+1Aqbo3UihSGI/CwImOe0PNUfBMYN6mrBj/dA8goR8XKqTL15t1WAUdEviiBqXgQ5Ep9h3Ar3fvzrhczfR1DB6XSkv/SBKo3guVY3/lrAaiYTxviYhqkYy7AQDpUdHW8CNhFJeuHjIgmryuGZ3HN90ywOWBah7AvhlbYYbhKfVuaxOLHhoANFY916i0IHY3yZjkwWu+DAmQgv8nvTGMBWmAj6u8IlP9Ko/HRh85ZvSUW2BjR+UGb+Rohac918iZuhT+ywMvg/J/v3vdYr+6jo7lttPpBhiX0O2PRRq9hEiY+6qdJkzfP83fIrV2aRV0SKKaiXiGwM1O6OjWftWimpKQJCPnGafc2toW4RRD2YVEge8mA1mUVCpDx3kV/55RU5s+jx7t9fPoyqqkFPh57tnqTUuV2r429LMQX3PUwacn3pPHNmUWY5ecQBD20yWYQdnMeyGO70JnI+vQ4KVe+cqnRHjR8l8Rc9xvSdvt6darbku2kpZTXWq0dWpouPj7R38Z69WDaGsUXn7f+TMMcN+O2ueFUe8jpsmBGkpZiZv5CKSW5tmSSki9N+wO3HdSrCgPLkePhHUAQ/yp2kqTr8UJ9MeacgjHqDW58x6mRocPNV3UJtRyheFXjEEpXwKzS78xh+W7dqx2UkTIJeHnUMHjenlTxOKFg805xO7l+SHlPQezrdDj4cYgfj5kfmLj0S4j1s6l6x65qxZy5gAZGAqWEH94798IX5TMImDplLvmnaWeFwnr3hDXfz/nANe78Pqu6jjtcNp1EqVUCGW2c1irFfhi1tTe49m8gaesnXwU54E/4UctEp1w/6KX3F5tt4sS2j3eqhxksnabe0kxVceITDR/q7kYcFmja0L73abONa3J23zHHsB9LrAISR5kWcqMDAcJl/m2SAJXBRB+8ttYlHtVSdSzNvQZq+4mNH37V+C4FsfE6zJAVNyP1oS/9+t0dEPPrpRauWYo4IgCbiiSwhPQWikNm1Pcnw6B9fO85nNWT6sgUaeSdQDKWSZoioBw7F7xWaGh58lqr3kXukKzcLSDIT5xF5+LxMLHTgKZOOtbkz3khNeDV8M7FWQjRYV/3XZQJUfxHfgHOpZxFmVD5WCXjFE4hGJaMJ4xVqT08dQPnKojcSfmbrqPOV1qzexTVoSoQrAKSfn/MUrHzySdak/38wztg3LMQSPRYhkgwdDXde8S+D5eCZBSYrJl+BzQ/ezOVMDv8l/Hjp4UQENFo7pkUoUQmnnnTDCgHs5w49flDoaXZgY0dnP9Obw0RsHmTyzQBrnZ7TdlvyIfFuFDMPHM1WnuqQBHse4DkrFuNHMoCCm+AwYDbVjMpkc8ZWnKOEMBue6DtzQsdCQM2O9apWrBAd1HUg6Qdd8MLn0LSBjomyNxMKNTbi6580rmYOiYMc6+nd4uVfLONOleLJF4cE6Dik5Ta80aNwjmCfvs+ZXYsNDXP0HIlZTSx0R6YYSQc+C17U9E6v3kKgFlS/zKkSnJkRhyytSoIwARgcDovNByH8Wc1l7f4V4s4GEobqORA0UODez1jepCMvlsv1pOYCK+EPdEzTV6XvXFrqHPykL67o9EjRtYQtYK1LNviO/qvqHd0dR2gStwOz6hl1EIAOaJA4c4xX9t0jsLw08xZffXHONrV7p61HdkuoDd4gbp1h/YK6+xFO+KMOeYQSgOhSL/XpokHUhvkNHyG9QzTNYy7N55QaAgTk3/+S+FFhCpBKQ0cIIypx3pce1kW9pG1tAtwvnt0xnyfa9k5rF0dpgsJ1outctmujonF9/ML/P5VbiQUWLp186zofMOL/3Ee6t3+/5YBBB837sTwQ946tCW4c/Q22bVTg+evbB0B7nAuwba14R9Fqsuq4Dh3eVUFcDoqPlZrnmK7mGCedUjl9d1PNgMglPWNmIuss2kpEZ/1hwos/kmHu3o4r2nyKi+9UpHbLscLWg2pB4sMkAabBUU0W4ijgSh7XqyZwrFSIQidur5LkMUO21iiXAiKAgmzygOUnaGKURW/7Sef4fAfFPXt3W2HhGUrNL7X2itANsoEq+Qibya1N3B9PBi7po9t9QRntUn1SiLw8V2JC2EgIKowF0LksgGDmM1qE8dLaIHwul+Vk44Ykn4FeGZtMJVGcZl5thIx0GsolGHfCWiy0dWKEzR4Cssg7SONa2aJkzHY6x644jJtoL6uVfPJbUNTkJsMIQ8WLhEo1rvgoFU14G9nWSkII0gRzrqYFWFmgTDgBByaiflv6BbLqB8F+xpuYscpKx08CaQj5hnHAjX3PoBYf9XIJaVlWZFY44amvzPMLbjdeJZcmhUozPqBRhnEqykOF9LB2sWgVq8dMOV5jZlyU4UjsDaWrhFn+DVHe00oVq3VA0nRZXFsy8YZtrFIBbXFVG5AQrdibJSgp6FOjnWTRwJE4vTrrUWRRN+cajPEIrLTsU9xXh6COL0542gpJgx2ajw8snLC93N7tphyBpT68MsRD/R3duFLpaCaDc/yZzRrnth76gUK7iHLypT1IggHxstAM+6taeJsXiQpl9jrv9KY/VUX6Wu2ofnF3LDlrHOn5G4DL+UwmsdxfVsd2dkXkgIsw7Qguwl0HtUYtuzd8Va8kc07tmxniS6LO3Ai3k2AE5tvMad7ytPJK6eJPhhTGbVloe8kizsa6ZeUe6Dr+uJB4EyeGA4I9xxQpuGBRj8r22gnwlLg7WzTMXBE4aZkjlWHwFfHC9RLyhsVbhmfcUOxZGmLNultIoU9AIlhUJ+LmT2iMKx2nCTUhE/zG7jpXdcVXaUzfVAoCOeWRC18Xo/UndLEa4yph2NkDO8Dp6PQcKHbhuvpiDdSBQk7P5v8np1PtDXInzoBHCFXws1wFhJbPAEkmfwAkSTb6A2O44nMO3rn2dTEJF1LtaSkAmBwKpHultNVp9oDkxLMztsM8mZyKVsXpfaJ5P7G/dPHHEustpCag5kfzbGq31VB0FWDsdHJyuC1q7Aiq5FoSDoGwLDeZMB4drvTfhY8Eg/U5/BzaiqVgliswjgeDLYfcmur1dYCztPoKuKPKQDuYuoDUBeiLWmelFYhqoiy17N1f7ooE3zzBX4Dpy5Iba+1xr9zgt2wZblry5koagLjDZcvJtfU82gkI4JRtsdLN2qUAfFxOZ8OJd5G0JKwuOq/iHuH0CdHV1QGtsCinHbIjR4D9/2uh6w4viggaTH40KdKUWoGwYm+DKHQaV6ra/Fd28aFcWk+rA1EBZLPu2W+MlnhJC/RE0oKuvEOBISctdNoGlth/kvwCOoTW89XF+dZZIQu8sSbCp0HFjWI6VzxNiSDJJww059NkmXWO1C9CT4ybN/FDjomZOcRR5UJcYAbgNaF/R/4NfpgumbM//HtUx7t4BpalJtaYbktiPlSG2q68ihpWQD0YQ4PrRMaadDbwXgnK55eezL97s0T0C863vS2k1ZMbFibTTLVh673/mmm8KRZyDNQwwyBfQY/PwllwIK4h3QDrwNORtom3igL5M81Q2V71k7+12txXxHX0Sl/6kbXT1TfWk+x24HGA2EaojTsZ11iZF77rfMGbKEfMddOYg/YC2Dv8jy/fV+Yd2e7Zjrxhle4h8ChOHWW/RymRVqwdP2+8SPpoibMXkadpfJtIRww/dcFAlIQghDJaFPCV9tDWs2ULWT6wRESasmNpbTucznIFXyBa+KxVMMQctDpdtocawmQzYp2fFzOVGfAELMCJff3+Hq24cabcOU9CtmhhtWzbX3O1hl5WGBaiEF1IVw4cX0qRj7MPOHOyrEMqEsHbL2lHt756q4Wff51vodBldgBZaMy5qTq9wMv+uGm7DwwIkV/E03Drd177ZngJv7ZB1hFvaOY+4TTS3qRDE4jpoqZTP74pXWiUjtKsIUAQoME/FnusXanev2Ta08ANF36y6+QH2JhpS5QivA+9+XB2hyCTmXs9s41Cmj5yIdNpypIHIVNwC0QIW/AXaQLDxi4oGOfcVJYxAjuqJ7lYSZ7zYmmvddNwvQp97TRqBOGUsFJIEh4vhioJeCmVGY21PjMo6QBDA/uTxhOmbopoLW/VIrUH080F2MISTv/skH4iBzquEzzeQ097VcRcG2NYh5dKtFyxcJ/pDhaYRtpXFSbGGFDS6Axt/B+iiUYtqHq/grVQeKRr5tFj7WN5yJjRNeggknhL5QEdZJ/w08omCx340guiKRNQX67lnTyx42iCa0k/fpI598k1FVppFfPkwDB2zfeR9eakTkFkc63u0zBRhmm/0Ot24suQxQsJPew3kh2UJAHIpzg8rGNPwwWGBM0rOzgoo5yS/UBUBvoovguhmkZ20h6BsPeeoD5gn/2y5ZV4V9A/Q8FytwuRpoETC/vCSyi+SM9nwvZoZSnZBRhQdrgbHMlsyVX+Tn/OyL47xYSlPJc52rRPIPuw+OApleQCY8PRUUab5OuCKZE77Aj4ELiu4DhDmRWbnPT+iu8oCM0FCThSR57XM3pwU8G2OUQ1YYAx7BHRTRGiJdKIMJS43eZayaV+xi+KO15vct/a8TOWnWd3tPsBjVaS5qQ4KQOHvr1CZ3OO1LNW8Q19MPrBLdtF7WTzMv4cd9rW+V33SF/+FE4u3rfexmKH5oY586IN/t25Dqnow3n02U7+gw99HRtkjnrFbcDIUCJezAo/pLltnF+uf4uabhqlevPTzwvgL20DfxoSQ8HHoFhsJRYexJHgGQrBBS9aCA5OGnwKenbW4l0xc47Ez4evqg3lBGb1JjaWCr9gt4oAa0gea1yzsE17CyolFD6ulq2GhL7LCQZ67ynlo4YAuYYh0sdKG/n6SJ2vV4Gi/mSdiIuLBfp+DgT3Tx/Qm8nOmXlA5lLH2Snu1yhfHKuh4My7ePGQUTuS/n9kOKgoVpqQuTrB2m6n4rx/eEk7h0c3DEEq/nWSMYVfAgPibbTf6CBdMv3k45nEInhUhZP1hY9oNeNqMTQu/4AxJegjRIGy+231edxDqebXt+NDRwUDu/QeBEfX5So7SHrXT8JL4obgmDXVkrC4ZPUaJ4oiirJAHBoA0fORTHNkwETTievLJviAdu8D4he46XbzAG/H9ftOVw5ghSA4aJDOYHyGsdr8AnRd8siKDFv0eGIzAlLabO8RvBsdCBs7oh+GCfuyMsM9L8OoOQAv+tfrj3FR6hV3sV4RGPacpxvkVUcp4JYdAmldBiNk6aBff2zAHigMBfRed7c2s6QlceDQPDVJN5U0A1+wv+1vHMXuPIfPlNV1PwMLMqlaZ8j14D/J1WLdFuvM6fLCNQDLfeXLaKLn/L8XKQyJvrvzqotdHGZpx5gQ9OvHw9jmBjDFGRJmyNAUEjZAyZcAy5yKPZQMI8TrCKWi1zOUFsarJ73zHX3l/ouPTupckwBfLax9DoLrkLemguGeuCwu+klgtj466lv/nsQWHk2GTz5OYXluu2BMSBDjcwA20BXPTe2BYNgNINxBX0qOdbHTbIdgpfPkmQVo+HaWDQAmKSkrrQkIkIXbFzwqkw3UfJebL7SC3eLSyAOgvkQbpGLcHfnoXLps1azx1qs9FYxnOiFaFuFMe5sFjfJwA/S8z4S5z+QtaXDKqqlC31NYSSyF0HuqErtvU1Ohlc8ayH/JW6vwARB82pAJHubsNpodd6+lhbMu4+CeO7sm4UWbvFxI4nmoFrCrxK1P953LlVO6q+SipcA1j/9Ky6OHV5INVfi4A25U2lW6xWvlc0xeXV8Hz13AcR6g31Xmhndd6PqQIdnCwX6Fk5gOcrRaFU7otLrA/bssEEGctXOoHqQGxLc5/dcmFAfAe3Zo274Ku2XO+2bU9Bh1oZM7j8Newq4Txd9jKqqjXZI4GGowLf5cn4kB8eHdgJp8UV5EEC3Yz6Nm+SHHolPi5Fx0LddWOsA6bgvOroXsAPgiME6a3YldJnkJ/IamHrsIXpcFjrGYMVOLo+Z8i66YhV0vAqSioFTU8OuLs0QOKWBghJ2W3dKYXTmVWqe7xXAgw6RHx1nOc4gLF6j4KugpgYydgIdDJ8/L2hVIrpmUNiVoJgZ/1lLep0Vj2a4/SJhVP26aRJYoCfKcCzJWVcJukM2bq6Po7pPTwFBM1W2RcqnYPKWVaL0IZTEXD60OncjPKgpBEF5hvjOmPNc+72IijofhyX7ClTb7s0Uzp+yvrxu6Uj+NHNFwTR+bA62DKww0hCJYbqLcMAvaHMYlt6ceTkpnLEy0xt7iVYu3YvLs3AXKiDbUgtn8IdOl/dueIiLZRgAAIo/xhQKSSJGV6Pj0vm4jJ9c/ttoZjr5BMEFrf0YNdKMNTi+xiH6qwBuQAKVSe2LieL+CNo0oKAJkVeC8LdJWW7qSZ2EZDOpRvbPKvHJnYp6h+bjeTGdwvpxJOWJdOnv0xuBBnFGZEUoNWykaiDMPFdCh/27tbH+0SuayFZrD+juc1Z8HxPUOH4PawoVEdfOm9IPGnOA1m2hZorZg9z9uy2vpFhIQvhoHepyIeRu3LDL57mBU/18nJPYdFQ2cf66nn+Cq/YO1p6kJ2KjycNmOlv/h5gvFDNzwmERFluVEgxzq01vPzZmVstiwNgW1fezD9TI9RKRrLE8V/6W933qFoY4cNqXxmJrsb7HnaqlpPMsiqI6EFa1v151nOjM9HLKRc7APWQ/Ft1ZD2mCFpLWytMeBEZzms462OL9kQNWIcLHzOyyZxttm0UYdvafyzBab/2+1Cb5GzkTl802GdFP71G/18N9hIKEZz3TeXGvQbzb1C+abDfh8czIpRYb9K3OBlZgth+gIOQkpVzEOS+ZmxGGDiVOJMdgQcf8pvi/XJTCICb/OG2ejlovYc2P9IVsDvjjb1tWu0Wiyyn3pBi14z0CzLVS1cSogAap5T9FTH1acRNWqfjUaKOvKnnNaNjjLvQoie5xUw6nxfl1FxLJwDhsn05qULWp2ACWhgTKaSaX1y8VwXNpXngBVZn7md9QODZk4pUPd9FoCXr6w5+tZ1qSR+Hh0nP2FP/JNZL5pqkdMgpABwLT9E9Q5n1CP1VqwPILgvFw0bbt4KpU3J4raGuJTU8MK+nyE+mkdqYk0ico2s0crKZZp26/OIgvln6z3tnYwhj9Bv/vPfXOKpbVtV9SjvH9bvyHjd5+TiwbgsyWwD01cMkNG814ORY+urfmE2CTickby4jVimNO0Ox0AA1YJqxsFaaBVFrXttoPqrKBUy5wkrfUTHmctlIGsO1Oiz8gKVVp6jEXdXe3uS2QE4hLxTAT1n9mKYAfB25IzWqcI0lpuZB91glISJx+rXFQvCYWLMuOH8Yb1eV8ijGifGkUKcsScK2G0lcGJibuw4W+PHFr+/2CpqHBZi2VIGNDjr940AA0vfBn0OLTCFNiv8BOhibUbOiCLCKbpyAxavpPpXe3ClLuw/OEh41BKeKdK4suStNJvT9cWCt4FICeE0xjwNixjDyokWOpw2caMPU6Dwkoqq2Ua71/LVmNe9EwNFzsHsrIfAkFNvJ95IvzzxIRNx6ldzYV6R7wwIH5zfdlwDpq+lnaek+LfqAR57kGaGg7P2U94DlvS5fg0fMfiRRZBbhTekdv6kygnTaBuqJ62H4rWu21ulVGWDztE8ADK6kmE07HluJzcE8SYV+YTKH+8Ol4E7qpS2cPUWAZ978L0hWm2/GA2qsGeYY1IgUMmZmDtcgYXOtjYBnRX74u+1/Og60GoEIeymshyzUr82dMJgF+puEckHZET+r3edRihT9SlDbdCnh508AzOdTciY9/tUXP/fyQVsBxCmI+6JhxeoEcy3zFoTy34OaKoLwzG5Bi7YKFOBGiXaEJ/nCRr+QltEQtL+Me8Jn/+0Iz6lzDWN1g7rbMRZ5VLOymBzya2s7CPIW9rMOuNmBHi/h3P6GrGLSEO0Uf+tvJC7Lu6HApMnUgOaPDnNpoDgPcKFtuweSTOFx6kvyRN1VAz8SnYQkIjB4BP9he8qzh4P8Of1DhRPyY9/hqS7uJZsmK8fGlqeaRnLyUHJK9xNhXXWWjWBkCz5oxra0gaGXXDct4fqXGaltsrO8faatoLQ9VchS4pDXevm11iViodS3Y9I7qpyXF607NmRHcAMTCiG5HvBfVTfSa2sX5uPqc12VvG+6LSPLdq3A+2hFnJz3dQtpu1MS3vn+IPCi4zZ3RWpx3Erodx/2+NE0wFZnNGC/qfLFSnA8RhxnOq4fGLrPufjqnRN1Oofwbqyw35xjnb6NZVJyX+JgrkvDifB3cj6XYIwwhww2eu6R1nKCHtBy6cAuVuC5bt/wq8xHUB7FLNf/R4jGhU0d0XVI7NpWxhoERpG39hi02+qBFKsXuOMPmrJa4zrEbAWUMw1y37w00XeDuHeAe5Ab+futxFVIyKh7NeFGQBDvlsO7kGG0dXPxK2hduHtOpv5Ne+nMvezMoNGNwQmyamz8he4Q/9YnHaLZ+Uhva5RaCYOtDNa/kT6fwKQ9tDt3c77PuYplP6B1ale+fz1L5/qnfNsxxvPIuMWxomw2tNO80vI0x8znx7gwfK+XG8cUfu7usr/buP1ifE8XDNxtbc9cZS7296JK5cQA+qBsucV4pvQQLHlpBh54twg0EEog1Oc5srFtkkT6MCjOQpa3WiPNJ04NWhYtrKjUn94gvI6bMPuX264ybnQk/fF8xXXhUhp+b/nScb2HVNjT6VsUrNkZIZuw+IFSpr8XEuSGA0vHYmAEMC2tEJBfCI414LYBF64ZacWOQy4wpmyYMW1aDD4MBSStbSQt1fwEZv33MoufqSsQMKG7wB3HvpI5UvoiJmgvgGcdlPA3upw1cixeJi60Vlc/DMuJSiW8bFUqJKNKtUZ/zX4wuP09+62774C/nc3jvgQv5Gz5IZU8dypvuKFxGILhH5unLo6EcYo99gQip7KjFk8szwj6Dc9c9vR192A1d30+4SKqSS3MUNZEK3t1E1eLUKcoEnXM3CQa3S6wj3hncDhApN3RCeaQMdUC5kwqjXj544Mc1BCY/jxIsgxHV5USVWhTJAA5pB5x3CRomE+cV/gRk3nW7Z0NVcR6Az0b1BYlCpkbo/cieFikQLrEU+0j1NYKnC0L6zQ4h8fTsfuk4OkyaoYyGlIcCyGNV4TuHq7z6ltKkmj1+ERLWNCFGO2ZwrJaaXjwZ+Q+F4tbuOiUjP90hKZnIiDhXh8k6PJ1mvij2bJNIFFTmFzqpeQ6sjjIdNFbgPWi42ZWbTDkdMMQQVxIPyfzSJJU4tUnwQY9ET6Dv2dLTikLHQlZxiQwG0XYbOcrdrdit4+f53p3O0N4dFPp9voxV0YlyQQmv8BnvA7and2SvlyvFnV8Z3RPGN4FVjZeQuIhkG/3Td2aDKI8vfvYAyRo/M2PQKHE26eBJvA35KWt5VbG73wSyTXLLr0yioztwb/2zkGvuvEuIiLF44o8+YEfApUciQFcN6l9L9yv/EjgoReLKw/3brMmfCKgLYmmpQ//buLK4uVTKNGplkC8P6UbLENjldz25j5G39Y52ntKZCXKcp0rofB2Bgz8migeOWaDWK0pYE7AfJOuIWjZ8NWKmsN6Qy9ijPtvCSb/vufd1LTtbaFQbEbkeR0FO8lMy2GD9NRmfcQ4Su34BFps8VgRvaHb+0JI/yJAgfgYhECOKb7AZ9xYmutMunXy8ex/UVL0pyT3XpnKIog7TX3EadLE7HkE8YUuVNutWxPOB4vFU2Oc3w/hT0BOpfQbQuYjUyx0i3l38Kgpjl/juGEpuZPO/LZ/tdBcmMHToZgDdjju4LnSaEKOYtMGx/VubKQiy3jd6ubD12ljO6nimW8BLoGCMCjbZ4pAWRo2kntmxyDGbRUdU86Id2IT3ZhVZWroFVPAJrma2Yft2diNhMvtaPwAmmB5B6bH5xjcdreHjTo+FGmfy++j+q5vuJ92oldaQCUvjagQrJIV/ldAYfB1KGMWvBS90ElBONIke7po4lu7ITe+vYSeTEDbEebfJfqizGM2Jji+/ZVrgXb4/DcChfEXB1zNuGgE+MRJGs6z8j8wO2y0MpSJwUfxE1XQo2zMEDz4DS+7QnfQKIm5rIlOtx7dhShsmrMRSnaddbuzxfqynOY6dgrrfF1bi5ydzNKLSQgpj8XmWgccZ7yxWbVkRG6LLhnhNxSpWmwpX2pZcpxM0AMla4pY71Z5JoZMQ1Om1nqANsksBZ5kDzhwUXMi19EjnsNgxu4RCdZPvX2xDvV9yotT02TTcyybsAYnczCgZdWph+km/+vD/gHrviTUG0FqF97VQl+1r0botxubZUOcE6021AdJ6ZmjQuKKacr/fj3oSM1ixi7PrHZ3d0OGi6Wvnt+aPSxQczFbGb4a7MTI47ARw/3ZtEo9aVDhdftxkzdvOynuIHPUDYlAtG7/8Yz0Rh5RLwjPP9n/uAqeUdD46aEX3xuPnq9rus8MGYaQ5+XVQn+9WON3ubXgy2peZiXxEhkUQbVbel3lNTr4FqtPg9wIlNQYi9SfdUuc79PZHgDWP4P0lvQ79ZVXmHo2XNUE57qy6COWbakvN+YR1ayRk5dGf4oqXQciBZ5cGmEPa/o53OYZgXbB1kFRPL+1KNaPY2kXgXETZ0XaoVjdZ1cKuogVAE7LtFSvJZOLV6OmXN0B2QTd6urLfMiFQUJgm4n8ueIbrf00YG46BNjjw7181GY3VcEL7o3XvDqozAvqmsPOqW53P424iFtOBMqLtktab+GlIPvk4/4ION4IKcS/CCP/qjeFd2T7RX4gWBT5Aj92rWVkwEMmn78czY1CUcqlNS0OO7MiKom5k/x50rgYJxuaijMyvnUxR3xdU8xUmR7d8yLLkDtv099lBcQYBhEZk9Xa1a8/Nd3sUtJUgmGSnOE6c+JkDHfWWofrVLf0wT2xf+v9067UZtroO2USWzuSckf3TvoV//LUXyY5vBFO+U7I+5+8jmfHrWikQ4e0IgYrJi1EtBbP+6C3VQVWvU4GfYGUto0w++DgK6M2+bsg7L5wLg/nIugbmEJnOhETuVkZfuQtiLNsF8BI0byi61oq6LNnfGIi8tEwqdSqIEcxVUQwYq0ehDFJ6L+zP7gWl4vzug8LKhUYC8W9VHxAqM76impOMLxEQD5cxJ9x+14R5ATaUVOsuUSJhfwRjP0QGTeJHkRakgBFjtlKyyy1FE25zElKofq1hcU+SImyW38DD5lfJ3NRbpbyp0Doj9FBDz5x2O0wgMjlV9uCjl5w2FCnfoi4VL9Gnt/IPym+LUEjyvQm8NRDFMp6tXB7PNcxjPtAgYnR3wKS2/Jhnru4qL6lQCFnHbLTYM3cPTi4Le3K0AysqlypERLom6ThZw3OhWB9R87kbzrvo58dg8RWqQ7NBHqjEU+AQd7s/O0yBK2YB5LaZFf4nFazpfZV96VMnvnPqIHscMd+1PeVWgmNKhncR+J51wVWPorGygofk5NrThig0ZCqVGYd8wP05wHmrNw0bNNGCVPbqSpzv41Fifwx+wPcqfIZYFBPQAaqHpAeh7x3m/id7x5CkTinXSh3xlJclbfkHU5ZsYVu/eCVkWvxtxP0LCUCR6qvr/2OmsBKMDd0HYga/cn+KKW9tGr4bgElU3f7F2prJPTWji3Cz524x+5ctgAkoFW1eyx4pIhHsWHT+H4i/GF+W9ZZxntffO1lcnV3vIGO1EAtxnN8b4c84/7FwiGWOZpvdOrs7YmWYlbBb6UUtVFo53igzqH2+ptgSHKN+T1YPzVkURMhvROxn83ZruYchdcgZEieu5hzlyajbC6G5eInf+Mnx6znhhy8Lo/gM+PlzQHD50cENbwzAz2H1xLwqjIVSuV3rspre3EW4+c4aOrD+caqMXYRNGPGq6EUJr8rB7Z7PkfQseOe6dJS3NceK9ejIYNYy+1WM+YSd9NQIzRcy4PPF0YPxYMAmfQZ+dYk1hzgq9U/mTTGztcom3tVD/+r1ilEF9QuxS4Yjqube1SkRYb9TRRpd87AgRVofGs+2YGhPzggbD5ZvqWOm7eyJ1JuSF83u0+oNgW+IM8XehN2GkcN+DiiL6NKtKKe79VYjfEKAhCzZFsAiV8l8QqJe131sZdEyLPMUL0NLwNarBQlUt3mEuwV5hk+0W5CUeag17oEtSmWEfRhj9ptiXjgKBz00jxjasKuMwrrUnGoXX1TYMz0PgWbX9a96srtF87kwOjbzTVTXPRy1s1MJq0p3iHr0RMVjEWoj07FxRiX8kCV443Lp6P9WEc7jHYxWkhnRpiyS0KVF12jne8Az8SwZDUEq1/m7nsf9l53vwRXWLr4si+9to+ppIBbNwJHZmSnyykcyNg6TGS8fhhTxMoFHYaR9ZlSK1+hV3YEITc219B+etLBVTVmuttTQkxBCy+Uj0/iRCvV2WlV1V53RltCa5jhZPN5lwFb4KcPCgsywR4KdLGyfNO0xvubwuQxHclUO1DOrsUtGX9RzOIGmLgbvy30mXw4HPy8HTh1+2BJNzWKWxi3pxJjygVVpNwIX07VDG301lSQY9nC2PJ/cj9LbRLF/xnX7zr2F4gi/nGYOe2plCbbubRBwl7lU+8FWAx24OoBiSX4/fW8a6PkNZr76+1Gqr0bnzoA1yjdN0ASZphxD3CauWJRpfKMTxaecnxkG93pkphdhaUOxQrOnO4qgXJVVl95IZ1PFLVBKTrKpEVKrMJ6pc1nWp3qQOt6czJMFQTGxo8wGd+lyjkWdFuPQrrOxMsz5V/lwDkBlSov2PQ3yCC7JUqYKpNx9tq+R3YHBUzj3EqqoE3uNpwh0BDgBS6zpXVZRnLTI3l8OV9wBLmFV6uFmmqn7c8kseg4YholFl24AtbrKtYd+h/lfICSXH9x5b07TpuXthMoXxm6QW6pZ9bfGOMjOaiGRdJWcLY5OToDkBe3IvJQ00U3WMmsn3JlvbyfrlEk4XkMO5aI2czN7+lOIXZu27A3J9RgFTEvG6frDDtwAOBEjhc11Y4FLqKuu3KMzoPyZuupV+RIF8zMCqb1tr5YQjgK16THn00DyXzlOE23oSjNrZuVkmblAklLWkiHA7RAtJYUs+8YzUawhd4jsYyYL6nhCG/4vp9PQi2dOCM2E/P/ZL0w+TDtitZmQDzyOIl4qnoL9zhGHr+lWjno5uqI4SREa34FSL66xAMC2NmeyS9bGi66NECqNWr2O2xjoUzHRCliGj4Cv5sMaq/w6drTjsfgBDi1Sn+GQM8Mxw2lJlBbEvTjk3KPUftgHolo7Z9fiYqqjK1sYXMHZOZpvpKTEznch6fB5vaQNFfX9KqnyAa2mDnkfB8iCNq7fx8nNjXPbg0Whou9nZ+4W0cCN4kMrWjVOqZzQmMgfN/bjOMu5mHcuk/BytS5ZYD9znjvwb9lULJYfah7xWpbY/pDxksRaEtaVmJGvkb/CMP/uBEy0+5RJqNa/dGGMlRODmcbodJjOVAcfyOisB1sBO7MS9vFlRhpne6s0n1TNeTPygJeMkkNZxt55t+igBeBtDZ6Fd/oiiKbPEqB1LqMWKBgkA+vTA47HT5/Ye0FYarqZiG5xB8dK3ZM84FHlJpAjn7Z8yAnnPD2r6Dre1UJF8VP1RJbR1tZ3atsHSVQq+vyiFKosDcOfydllWaK1upog3cO9PGEWuNtEX2S7hgpek9GVPNGtDuakF2prZjvl6m6mFBCARNQAasIijPWlBmXOuGHBEanpK24Ob3M4q7f9b8jL+chn+3dGbj/s8mCiCPmDECBCNcMqw3SmOnTyq9YDaHdPhqGGIK/s1ZADT6qR6TkNzdlVdagmOTnaZh+w9t4bmca8ZnODzF/SQEFr29HC5cpR1ZqdR1f//0EqKDLY5QVS5iSwjlur434YllEXdPX8KW1Ema3GD+tYqIJv9h63fYOBbXbA5N3TLoPxpEjK4sLzLDrldY8KD7FkPowaPVdvpCRy2N4RgBE8+4BD34y1cRYCls+Xz9yDYJ9BvXH6OZWAfNJIKyRZJhqsomGDIQtr6APIsqlOMavze2vTcy6/UIkQjrqzQZA57GxZ++JmZ/v9V5zawHuRp5Rwd+H3JkBsY46WvfA3vLEe16Q5Cerfsb9DlESKui7YD48krwlBSoCJRb9R3qh2QnobXrz+KEPeVsm03/f49erff/kDrMuT2N6hsbW+8wsC+gix6bpfOFj8x2fxlj+ONOFsXHCRNV4ZIAM7wA9qyDkOiaMPQAus6bfChaX2ugNuUzI+kny7ANMbXKHCRkZ/s13U5ouC31O0aYkcrREOPT5f00P7SmU7z6LLnodNHQK8CjGibYDr5vTiLq//tzP4ks59oQZzwHRWJ4qg2wS00c/IDU2ind/P4mhUQJM1hjdpIPfXRFI/F6xRUayDruxAK0IhKlHCyqJ50CBuCqf3ET04tqJm3qZ3IfB20tSb4igubPZZMoQEt/jqP3fn226bC8ccDv24DUrjuMRvPXwniyavGp2Axxw/gdTQOLOs2ljAFn8bf41wJNnqm/vXoKdPUmxNIR8EYHZgPovQbCOfLK9G0IuxMkGcHPLKVh7dS1uTbh5dNMYbR5DOngptjiItqbjFArXDDQ6y2/uSTfeS61+WSGpTVNXqXeok2GCZil6wG9vm3qAyv87hRhMCpVc65g4jG9sWviiDshmOj6lzW4KUng9yJD+WYcIr0OvTJhavZs9oBkYoX3tbZ0rKBT1YdBdRIZTTTdOTGjFUTz0eln/buSsFpQE3OjUeKxjwgjpgQrUJwCaKhsU+6LHZpoyFnW0wRtarcn6sfO7ls7uBXL3pQLsOJtnIKcNvEDscKmZ/gaM+NjzCMyhKNWzSxMVj1kCNvAhruMcY/y2iPMfySeIFibZAHr/i9Vvl0lVDPSy88D/fRZld4JrJe7qPLamSmN/NvjV8jVdZngxCgrELBniTNKf0Kfkll/i7vKrRx6lt+TkhGCbWV5Pe33fdJy0dVITI1f+VtZ772txsXdkoaDuC6znkKw7kQO8m/u1erb1fWb/pG3V6ghNtEJhGh7DItnTRF4KFlN/Y6+JJDNagXsij0Qih8a09BFi5mXzYra1UdTyC22Uo79+cbOqoQpo//vSyYd4HYz8PVC4bJjQUS8Dy+wmOh/BaXJ/KXRjBXDZcF68yWZEG1kuCcGVEd/nLSDMwOKeR8oabw0u9obxirnfNo5fpKRE/PiC76mQXXUDEqWsQu768Cwhq9cF38nQ179sxczRiSiOl740U8zZjRz1UJ8nBBTQX8iI+nYyri856Qb7BVFLYn/Oi9CHXjmiKrHlJlGsSg7WKTRfd9CysejG7AVCqZI22I07AaTNreO/lYmo51zoPUsSqm4ywoZjWGYkH62P0Ex9np14yO93eVHUeXzI+kRGGvXs/o1/p+pRRRaqPrksOt9V9UofLYz9BLZpFFzHKKrWj9EkWWTfYq5WG4y8wH+s+vvSMpQy8/nkI878Ge8qF3bbjBr/uXdZZFNFE08rlJmfwy/mdmNe115staB+TXZasj0XADOJxjzEEnPCqYGFJ5GoaL8hJgyxe/CysTMBxb7Dx631ESyLS9Aa/MJMxJfTqeCurpMkUBWI1bmcfKR+KzDR53xzv5+kkd5tu9KlCkqf3hLlU/UUooyQBuY2whuTZO/ZT4Se04qWvCJKLoF7e20FLYnqaC5Wu6Wwe387N1EtRWSupEsvB8rzprK46Xq3enNmuo3aP5bdQIvuuO3O6hBBLb+AMHAJOwLUACg8RT9HpMF1HreIj0Rfb4/jbT4z3BGYWRBXHNdBFXhiuMSJcjBSn579+b0er3J7R1KPuQoS1KOTHvraSWexQQHpNshVgwusluzAZGNkRDdm6heGt/TwdmWSztDhIHlQdgVFaXw67UIXFAcmZ+kXNhtJQ8RfgB+eipE3QTOKEYyDrqOVMq61l6QtIHkjRU+OCpzKCt84oW4YgKb8LY6fD2lAjH3ke3ZlyWaNKOEhHi4fkZeN9JSX6nRnnMtWJkYsKtvp+xlbt0lo0OwNHBiyNwaXwGZjvwZEctNrzHh1Rs5smDQsuDs6HSJ6ZnuGSNNvoakmBBO9bwi97e+rBzQXsBRzI8FQkOj325s6XSj5o2MgYHgokKviALxo3EYAZFvSleyd1f+pPK/yZ6/gpGcH7Uz369t6O3vv69dHVh7I5UK7XeA52VfZLNfvmXc/+qzZP39A4d7+ej0+v/H28vSiPUODFdHFrxGodTxClomDbjYWFUCvSFI11EPdJbNOFihkr5+LFQqrGsDk1p/b+C7+e+Sx50rjCWRCzek6TcZ+HcVii4Q+XiXvxNXPRoa1WodX4YyMkPpwo6NN1pCZZ6EnslGwxMdvrnudIy6Tj03kSSH2p3B3SdDrkqD1ljyarydI3p3Q2kD2yreOVQEPsXzTjeuQhDeVHu+s9iewNjlc6W1WvwCqiEmS7+/X5/bfj44Ydc9kKkMa8NmNcqvTnCVukt2JFpsWN1SjOXzpyxv/DPHcH3PgLeiZdbyo+65AadHKCYVAt/J0SICd3LYkYnmy21BUBSNmG+V600X2fBTFFjH+qeLC8w/VaP7UVij9F189LUCAlaGkNDYcXsUkB4RuRC1rASF0wjKIjWZZV63eVhTqjX3RwIKZLw4uVN8wu1lOIQD6WV+kbj1WPpYPcOy8nOUj70B5zZqkf/6fD0ZiSGR4dC5+DpMa70cl1Rtzu6REiHKlzpyAF9YnosM05bKCP5DjEc8zeYXI57qpiU5oW1xYkKJUn+4O13f4oa101dQpjERfrGgrC1MAOvp28WjvaI9d37DZPYbrIKN3Ei+tIQZ6geQn/vShfHUYObDj9V1ErSjyHUwRPc3mTmg5PTaJBguXFX+WoPbkJv1gTW3ZjEYeAram+YCl558p+w8+PnUNseSNzUISO8eA106b3DXmWQY5tzpILRGfug50Qmc1b2ZyQ9HGP11BlcHzh6JCg0TjvaIzh9kVl1tbPS84dTuV9ztLxaUTe4V54RheBLpxOlWrkZPl1whVgreDYT24QfpvUObi/k9kme/NfODhIm/pqDU2gejw3i918U4qPpgYd9IN9VNfQjsG8FFqRzpWWQM4dBuOHhn5iSbjsx72tquBiTdMkptkJsCn9yTXmwD6qYujoqNbz4ZJFlvkiyUd7N2Jop5tf5JgLxz7nybyFRp9DLq+9gktlmpqvGPUQ950avU+z/PKSLg79wwdVZ4s0zWFyuLlIUSJGdyq2VgmvtNFwlv2Q6R6E5NKIXZw0Y4ZshKsAJr4wdG3tX+6e6Y3QWO5ivBTOYEh86t7ooRAZ63/6hhyyVBYZSPKnss0Rz7pBnw71Z5u4MaQzjHKH+4YWKSZ5n8mDlgVdlBqc8Vy1pxvay+QdhER9ljwv+gByfaHokQJTqLlhyKnkNWW8X+/yHFGg95PVGi9sqMOgz4Nj0cX2WEbsnsrO89Ik+sLdHRd/mrecLlAgdHU4ZAHuvg4wMGEbulMOmRuRTXr1FjKtw9eZF0cXoz/68uTBhwv/P16c8smJU+TH1/c/4tVTMWJchjrLKtKX5IP8xfC+yzit7vxZrmGK4Cmed0iYayhlaxgeJ8g8L5lu5RUdcsQMMC3E8ZPAGiSBVNyGhtwyX4qJJtGL6VW9dGTrzVvhoJ/5Ff1SFP+wrM6oDpAmaqanP7FiHNvCnKvfW/pzHr1sBfCGXVEADXz3leEGYHAGxAs+MNcZ6eYQ0eXUugxoPmVnne8OtVbqtCVy8GspDzZPi+Zt+/HdFatAGjbfvVQPtfXKuHaGqsGNQ+tDk6VFyuuUD4eURoYq5XUA7nhRFLZPmwHO14raGGBqPIoYPXkVMWpYUr1E+SuI84HCe3xTYgOZmq7mVGIdALK7uFjDZxuC2U0dh51qPddNeHfrlFO2/aWCNsicbdSqaphxMbrVKNwZp8jRo9hy8F9zIyHYuVdfvBiE3KnalBR1KOg8iYHUyyZ/V5bsV0KAa57UiOL0I0vIfp4xm6xVEdpXXtY0AhoNvrdP3fPSun+/urqFUyx8QlDKFfQmJd9a8JXDZMxOSKFyWstpeDG7zxF5MebrTLmzP0fu5vvNwcSmwG6KGOuSiZw1NsovdvKeXQuxiVkpc4rJnMl50s3PBLLuWdfq57RxYyPf5C9Z8WmU/vh7FwMj9PFILvo/zAMbbwE9fS+T6P3Y6fWlo3VnoMREWFdDWNHahkDEWIrwrAWRRxDt6Jbiw6AbsL1YosvmzKjuy5yp3/TJkGNSkvCY++FENwH5Vxkw8rtMC8aKaRzFyGfIoWOzc/6/0IclmcJsRJecah8ZjwGTT/yhxNsZ66C+bDWYmiel8jF+IYBWPQxAAXfG+QT04D2nRCBkbHDgbLmGSz4Xg/je6gl61xKypVzypvjt0WazzItLwsdI+bvYp0xamL0abbR0s80ShG25HAcjdLpIQRIY1jpr0F8+jnoUtpCZmJMRZZd07y/2TGjAhp9DyBQ3HO5y6T06SPsiGyanGjGrSripqPLvaegTzmvexgJgxjMlMwa2a/4ud/F28eCpiG5vnOk7AsRufNzVPqa9TGbeUSAOgEBAk8FJPvOa+fUSdy9dHNd1QhK6G2TEIjE+wOpjV0jCwxNcG7eVYS7XhiMddFp4VJrnHDuVHmg70Lkz7fbe1dGe3JeqFsQLZuPNOYpv195RQuowfYxyyJGuVNw96U4IdwPDdgJHxtRu6+5B3WwFDw1uGSTgANYdDqWy1f7BJ2ZfhmMdz1m68sFJuTEiIVYca3XXiuFEb3TUH1wn07cjQT97jXmv9yzrgENrfY5V15RrwY9sBjJkXIoiKJFHDHos+oVyP5lslfAgeyKtOA4tz+bCPrCHMadu7h5phHA4yq5PlYfCQ7tsO6fm/sku4m3wcsReU16GiQ8d5lmxLq4rmy4tgvuy65kvUn+PhfXbyzoU5zA5roHAub22LwvL/8m8X2b4oSO0KSaMvbMA+IRQ3Q/ZxaX90NA5/EWTO35DGxwhp5tn5qiZNcXeC6tzk3HpzvDn+qxOB+yAtApP1UBQ7aa9r1a+QCtLi+egdrGDHUUaleqmrSRH/NAW7sOnQSBFevxorl59bKMz2zoy/Xrww/RRADbXm86e+2l4Z0BlQHlQYIXVcWsa1nmDhGWjne0Qn0rrVVjoUD4IYNXEBehy0LoEF0KQr/7go1oBJ/AVOMiEcJx+BtJSTu40DfJYy2EwNmFdMdiGhHReaGfgPcfIADvecveC8kQ29F9W8QB21KwbHrkD3r9zZHM0J0xhkzXBfZ4bJhxXBm3PUSwr8H1PZccy9CyUEoUtprfn1v2xfMhxewo3KjnBJM1WXm5pMPeH93bh4oGR7KgFrOSl3yHI3J85kr4vgRcv6pBQuCJoD/lbTuVPykxby7F6hnaGj8QxQmCRodkh2sZEIQOyu7fkIOwmCBBRFDZYGjKYLvwv0lg/RKv5VsW0n5AoZnbQaHn9FAi4n0fe81P1emgsovXYwE4g/k68QOYzWClHZOJHLlUiT0tCSekebXgEZagrkj7RgCKwL5TcZpfiNN1oMq+JJhn0NKyVJ/e/rutWUbYamo="/>
  <p:tag name="MEKKOXMLTAGS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vYNndUMnZlHhQlbK8FkNAfeWF5CLIuYNRTKXj0+frBxiLGdphrnK1NzWo3CCaZMhko1ZIH6F32ZZCa4T9IhvK1FzD+JHLMD7uGsalWR5ljjpTxdi+QCRF8iqAhAjqH9CUA7NWCzetsyoLOj+nPfOD/SuLdo3jhV9/j/agWJiO/xkjPnyYfNcJCSHEtINS4mknh53/yEDVHGnXYYRijzvj/gx40AURNVzCxoVICuIP3tA5xX32DA8XDZb92gzBIRkWcDL9+mKHj30KxphREpEI6e14w/FQoCZGCSUihDHaGc4+3mVYJ1BoVFLu988Ru8lJFXcfLzY197FXs8ZxNTtApYRCNR2YGXv0BC43vHpFjVHy06LOmrTg2n3+zurjuehAD59xsVCACPoSwtIdtbLkwtDCjnqg0n5b1CdKducOIrzKPhQ9hnYyQxZZpg4JxbfuRIXUKStdbMJ2nObID9xgh5WGQ3Kz5ar+NNsItHdRnRZHwRw/GQFYG5SEvto56K5DrH1tF8pzCRApwdL5AEnFeJ9C6R9nwoPVCkMNC8VjPFZNES1HEnddnjCzIxcL/A9xiheHUnYko5NfmBPRbHa1Pz73ZuL4EDkitI+yWK/v9OMsDrsYKMVf/2h5FpSvRwRmn69Gf0Oc339VJCwKigQe90EROSCYhEGqpOFFLr6lMJovevt+P/381PW0KgJB8HZmiE0VowJYRlfqMn9ZU7H6RUiyiexUwmKpjUAZEqHLQWOGTnceH7XicCEUYE71xVc0J32wN1kjC5WzxbVoFq/rDC/BB5Pe+QE09pJaA716eO5KpgIMAOTj9Rbg/ezb1bE6u+CnLg+S8qIkd9ScGWFsE71Lat8IdjeruHa9SHB4ext3IVv/hLoGeKYcrhvbG28g2AXmsLkvaXj4wEZrdA6NwebYtmLPd8SNUNBCmkSjSGACQIMM7svHyWN0Q26Qiojfs3LEVW+5HOOcNGXzWyFiCgV0D+i+f+k5s8q8f6oAR+YAntpVUb/sIDGs6sSLVSnjSAn7vunyaur7nL4DS0QwrIuCYYMQeH9qi7YynlemUF1ndMbXZoNnNMuTz19INOgu8waLkTTrwhBd6Rx2Y1WRNdB7EMstr+pGtvlEfH9V2Ry4NmxJXUgrosF5gPu0AC1G2knnbKPbkVo5FXg6XA9M2AXLkHSn+pp2l/AISFdwuFoQGXkFD5KWZVA3STtUlRqN43OUFgKgvz+bws0IFB62l5QrcV1MjXELMmRqWZ8hB1qALqJzKKw/nrvo5fJcD5dBbydDlok/pQNvQcUM6A7t6zarYQfKLlbcWfQSvMtKlWdWODR/gi3eLVb5E1yT65agKJs6rXQDE7gm5/wLFL5wmZyYIATELKDg4WYnIOHLZpUdoEDF8shMHNMFOXQ+XfEky2SHNN4cUH3MrKB6T+cLWOwvoorMMx7sTBV7xScP4HsFitUmvv22f6+I6+WX8YCVMRWC6TVChb8tSI3zwTH65iQFCEGf7fp57CBC19kiL56lBbNNDX9zNwsOVvO5r9c8Xcq6zyTosP5einpIejuSycXESRl1y8iMoMuRc25LD6faabSsNDZQfhnZxFdxtLeyrUGx8q8k/okcUSdeIr7kSozhTq9x0qN1MICcgWpLnHPxEW9Euo4WFzlA4kexsvotHgofpWSp3dYCDpNIob0/TQn1pPGm2382cOCJmUUVua+T9ZjU5hfRfbqtt2HnH+y6jX8USeVtWrUbZ4XapOKeQMal+ZngDKbJAURODNxbmWF/FF6AT3a8O3CF6ZWSdF39BKQ0qTC+lB1jWeYvdDanjNBU8dCdqGwzre2Qhtctt8lvyP7i6/EMUwjfIqq1cHbNfQPotg5tHYs/MYnCIfU4wd1Hie3RBWe0khrqsdFNO0KzVo/tuuTSq5e/fo9NjkDiajCIpKNtfAmFS0i9XFawIPnKmp8KPJq4G1NcO5lFvwI9n2Xtn6arb3NkZ6hANagqoRni3kWp2xGNxybtxkn5qPO2kcMXbRLFLO6rXtaaIb5UkBnKlwRtETiLxPO27I0yXoFkE3vmL+KxsVm2g79WcnMvQmKNbrV8Ot/JGoJ5j0HLa3DULFYVWTzIZv9UlNaE6/5/vJAjvxvyHgZv8hViSc1p8ggUwJypX9avg/cTtNoCzrND3+RsRs5q2jfE775o1x5mgfKD8o2HWOBrufS3R1F/KusWN3uoboo6/M5DAPPZSlT26gCUpGyJ+9EHfIcnrwMPtXZ+Jn+QE3TJM7Aiwni7Cpq1sIkxJlVX7AEGVdsCe9S08nRy1KVJXWQT1M030YZCJjPiL5M4zB+/UYxBvUbRVzWgJY4m4jTWGjk1o2yOp81/utee/CbZQsKhwmVn/6yahHAJ39KAzlxU9xuYX+Rg17FI7VSup5R9PycoY/BpD1ayHpAq8SGlmax1ux72VFeZs72LvExdXjGtlbOPMAF/jLVuFXtvPVL7fcITG9KoibQ/bPIHoFGoNBSSRjE4slT62ZyJPPgPMU4Rb7gSjK8plxbvWNkXH8Iwb3vQwv59od4fBxNOiI4PT5ABsEGuaAel59ukEO+tW1h5i1uRgxIiT2RZD4n0inUZxOfzQ22bfGMBjZtpt7QgrehC8Vx47UaU101B9qP+LhTJSCr+DT482OFpklyk0o9F0DSv8MFn4qf/YarKh1lSyIjsdRJliZBYN6w270R5DGn2TyQJB+ISZGhkpBHHATtMoXxS19KM1CzsEVEc7N2NgmKh6xQ/qhuVD5uwoEVgmRAqURPwcUBbOV68XAqBqo/4i1qBLo5N6+hwZzXq67hP3lnt38qovgMz+0KmSCh92mwBa+6Ub3+DU35Ogp8u5WydYZjVT+cHOz/VNm4FsbxKtCOpgG08zHZS23Kw/TD5lyTAGx8iqIdwjjyZlYTwINoxV2dFFfFe10WUYdWwEsMFqxxzyxUh5+FqrJ86vDTLSr7EBV3s9Hfc+FeYbJz9JXd26V766eP2CrAI58MWsjosos+VXkCRuV4ijBLPsG9JoVksvREUISeJTKQ5ulcMZUcFAPS88hroOqcIYlMkujJMez24A6uDG/BvAbnixl8cfxkMGQgZKMpT1DfVGPZL8GGWWBv2h1hh7/U7LVHMqBk/8R5MRrp3PKOQz0RnPdPfZqf6ElLkzMIG4e43Kljd6PnpZOyBkK+8J5btd2/khRWVNKIk7PjjB9puWw+nq3CHfr4wHnvqXTEt+M+lCU2oYwWrfW1tXw9xqIoduHBMDyLat084NEAYDgoCiGRdkqY/wJpNKNp/i714nssIOCcSw1gnCWXodJ66/ZUqtgOmnbDhvZluv3UOjJzqHumPCt/Q8Fxj+bYk7qZ2iMOE1UWC2IZ5eBNtJbp+m9hrsc5EgKYSRxciGFxrK4HCGCwM5p8GSMaiYXs1WXl/4UiDcM5k6yc/8lfzbWvFVqZWkzxmrGmBkRFSzV55fBvH0obr8ClW98i83AQxQLWwJK/b2ISWnlbiZvq2zRwBfCnQXeMaCLC6k49repSWET8BsouMjFGfRzAYMFfWEBmD3gMCm1/5TDxZqE5A9nOgxHTkUvMbpdWpGyfd2UoL2s3lO7p+wbpg5x5g1a7FiEdb/SwcFrZvzdO6TDf1+HpXXbg9BdQk5VI8UHdumZJXzGQT/79oo/7L/iAJhg+3JpnxlayXbMQR5mO6KqQNLd6Q2F86q+rINRetRp3LBhGHfTxcdU1QSYt7jd4Q4Kf2qTP/rceySaX/gHJwdutzDF+ITyXNwot/nvUJoFBQZsWokjw42NWikUspInUo4Dr2P9CmxvnwGZiYGWzRgPgEncI/MtAZhQ4/XFmT3dmDwJfKM8iIiAqF6h/pB3r3zSPOzQMKrRJTgdalNxo3zG4wrjWIj9NvOrfQ2OWITCnq+qwNkGa8BeT9JccGTEtJMMXJ9amE2+jeaSW9t+E8+cvC2rtgBTB/I5zFnT9IzI6EHr5C6yi64o4AIHnLxjfREAozCE3c7k+SjthW4K1RO1kNJD8At4CFnNSytCQ1VEb6SRFMdpEDzNC40zBkwEM3gHwIJr7ZzV2SrmfTg0OregoYlZzxfxtHCAOiPoLpsTz9h0uFxJy7JopSfmBUMyEAMn5WVh5JvW0oHKdwx76aZdVqrZnZ11Xr5WGiiYV/9FVITcMW6jImapWiU2SwLWkosQmGiPJFXoaGbzblMbwBCiRTwSfD/pkzuclDcknGUTtV/jaweN1RwaYtMRqYFvY6WOaMBge2BNYab5nn2cSvIPl6wMSF7D4njjGDk7SAnJbZYjVURy1wd6xrjEyW0vHpGuom2nemNbnCiTsU33E+VwpwvK95dSyWuVZtZuvMpqMWKGE2ZnVDItzOeJU1L5nuwXdnz3AebyX/cX24Xj1/P2QQ9TwWGFsAkqNwM3Yj7Dk75PwTxIdSnLKGdBqr4esSYhyZ4FBaO1ZCu9Flw0puIq1z7phOREg5Iy4+gnCksKhlZwgxXwyiivIuA93OXQVdtbY9p3HnuhcG66xAMMq8DcHCzz17pnsFzdQ6t3+tZ9OSakkHbf6R9u76atzYzhS+9BpskQ+EqV2i4MlRFiU3scHONrA0NyuJ7vsqH7SNXL5fBgmoFOb23QLqJGJkGOeoePDMdSDiWeOEgHy8rNapLlHGAgM55wcQQf1cEdp0mawlaufxxNbOrEhB3bD907KC8qwVjcOp4xEZWoG/qegRgjrMur6YlwVXf7tWPWMkY1e/csng4NLT64fDLQIeosCJoYq3IWbAmApll7N6qjcVu/jaUnY0bL2nZuNur6MHaVfjobgSaga9bdXExkx8vHzWl0i2DL9GFPqC8tud8Nyt+K2ePPGIPtjdYcEZBx2C/EdDt59Pa7/7uTNUrWM9/zyrztGeD9gMHACZr2xJ3UP6DOvWjB8UU3L5p4mAa74Pvsf7QhfXeuHZelCVQqVF7kNcIOlSJIAJUDmAdZ/xZw4O8+B6FUwKwd+1xd1BZ8r8fd9lv1epqHKgrTjgJcabBT8R4vSpLgjWCR5qI9CK5MtiOy6eN8Sm4LZYlmsHkXsm9uK29CKrBZ/hbVSnB5rujzNCrJa+z1Z3WOVPu51yGuhjQAMMnPsl2fbUb7k6tpikXVQRz9WJvBCPWdYAYlgSdPTE1Cc6b5AuGf69uivtFkQykNmqb05ZHUTMmX5Yn43F01WBBjNxR1/Rwm+IwyfZeVvfwO+6ruuMm8zOMce8TidLCrTk/ef0LbztWNTp66VmrkwUgMRNhv4RmqTG7yJn6/xVajt/Vek30qP/5qp773i5/OUOlbBpbrTURdKInup0ST18cOSn5UVSeT3TtUZG70ZElH+qmX1Vu+2gDQYTJbYZDLa7Wj3NAkOlvkpL+IYe7/lm9YkRaU+jaTcNEdl/ZXsnKA5KtUbFZr+Zyqj3I3N8k6fXR8vloomfFhWRlAcfh1sBeo9LE7HdAqqhD319x4EirP7cuN2mXit+F5Z45oXnOqRdx7/2fA+Y0bKli71JZdGWGvjDrYPqTyRE8BL+8tdek4nSPO1zcqAmX0aHuitJqLjXJHDIqbxryf8Uahip76muVVJIixP39OFuHpmvCyC48w37jq5mMCECjs8VxLnbRF68TVWthAiInMg0BaHcHsRkQGfcz/Rmg41fgqOtGpoAL5z490ci1oINhj0dILTTZQWsMz2C+QfNuW4hL14KkDXndo2CYQB9Wwd0UAfwEkrDCvKSEIpKWij7XZG1R8+4i/z4em2ipIvl/70fOZu5Dt4hJRCHeK8cvgWkHBemEdIDJ3jZk3feTQbYFalebPQsFhcw9Mmt0O09dDdmmgYmj4zptOf0buBI30Vm2NbffL9EuCI8DBVE04NX9LmYS88nHPIzUKvUX0y+hBsQcv2Ef5/kQzFNlOGv0ORSuCcIfTg8L/hR84WVfMZgfo0MXwNDrHSAuMQWgYXRcw4ynKOFrItrsULB286CFTQjJVO4KgUZ6HDwcJ7Shw8KWoU8zNuLakkGz78sau8GLYwW3yOlQydNmiJSTopgWF3znVuJSgMU6UrKwTnRuoHnTGqCyJSV0ZbYVdzla83E5WIgeTTqZqeNB3NVqD+UgvmyzNMt1x8JSfVW1EnJy+2kAj3BIjcwsIrkLKZHpFtz8a+72xwSKCnn5rShclmvZSI3RcDTm0fYQvGvcoGWE4LFsPRk58Aqm0vDrcG5Gxvov0N+NWKpdsRAPJsjcj6DqPH6n6VstUthI+HfaqAdMii/4nct8iPddpIfZYD3bLpDqeHVOBQVbRliaW6Aewu1iVYhX9TnE/ZjCRZwd3Ak14Vrbod+xfQJCRnB04aeAXz6nlYHCo1vakigMb/A3+KNeNwxgVjw7PpUWvIaUAyvfYAlxeico8YulItenx0seRJ7HfLJgTaRiObpgQhaOag8eTCuimsFvUsWsYNzqkObldAM7OwKMC9B0/Xh11ktmeBsckp9mmeD4YlGoVGyKi8k21NAnnwfJa1ECPbxQsDtg17RbB7EkXMAkG6pc4GsEVg7EuzhSj0uFm7eRHOqV7zsyo+5amZ9XfxGx8PPfnNv0STm4zGvi9Y8qqC7jApUq7hrC6MyDF8/4yNBGhmqnudAguuqj6jeOW8uZhyyV7xTNyzEvJA5/jXpDVlHJdSM4Q7YQc76JMftj8dmjpUejl6czMamwA3OaNSfBrbpk2YAmdqhllsPicbJHQkYHnLwC90mSV22ocbcIsrD/6fbJrHeLQWOaQSBmS0DXOzdaJn7GN1o9fa/J69xmhu3EmB/DFmFoSoDbwPYAmz/3/pETIF3i765YR5kFDiQTfuMU4qNhAZgTbT6URkmBeZyQNR/3kdX3MremmgMT+Nm5yXUcB/PzV0Kq6UNQ07aLtdoXo/hsdW8LC56papktWkyJEpwMV9wfhPCEEGcjyGQE1552o8+z8FB1qJL15PEgNIlr0KlzILrnn/Hoi9BjLyAeVh6iAQxy1Mmpiy2bwF6wa55Dvanj8fBPJN0DMQ83IXHH0Vcvo8ipFJSuFlDGNOEWjS3OxUIn4ekA/VlL0FXdhEdTAiQgsQIUsjlypik/LLFc9zrIYofpU/HMeX57nEH5dgTBDC2LMUqw7GhYFbdTAl2G4ki+ukw8gGCPDiFjpPzlqtInuwdv6ZEb/zndhhEnK/oeHP0DJBExAMii7zuMz3oC/iVQCzS9EP3IFjryrb2doBzt1hVye6VnIFjnqjgnqkP+BjmEzC+B5BKHcz3rDOZEdBXFFSug1LXVBgkvhWoYaBSIQfh5nk1V8lzFIe4STtBtjROjFISSY2oWXjwRGf51r/muegUzfUoUwdb6gRUhqve3KmLbNMuG8MkPrXytfCVsOkIpCKKWMha1ZL3TtqtJbTG9NUsI4iHaOQ1/awcM5/xp6TjV54vBSwnTJ6lMFFRK+65OeXskvNzzUpMGA4I5e9RpdaFyFZ5BhgGTcNslcSDaookphHE/hpgLdacyClJY3vLAOIovL38f7qZBxmo4M6XJpt9nrgKjbFgo4V9tFb2bmfPCAyef22UK7IpW+rPMpiyMZUIDA37a3gwN1QULbGdASrWiHAdVob1dBTuhhFP8am12ZfOzgMOWzfUqHlcG1TnH+oursO7e24BfoWoDNrIb023EEZ4/2USgQAkK0VAMV4XxNQrHmeXliCL2YYIzOAQ9c3YwuUWvfGBbNOEZCEVncXwvf/Su1v6r3Xpnltpg5Pzxd1OwYtzf68g5fBpoLlOREYuvnAMFByl724SQdZOAvRSFzrEPlxDYODR2Qph7DBUUVtN0XIMGxjYFNtUCb6toSJlUmOLjRl/BnfFHwQYvRKeqVr4Q3eUk4fvcunzV1yLWta3GZ1hSVRat3VMqjZUQTFs2dVMeTSDkDdgXWsZ3P6a1F4QAkQg7Ms0z/ffOfEvG8kQSxKOmR7reKPc0jyr2iREB10Ns4j8bGSUxriDPTx+euG21227AHZ9+k9M3hTV17FJFOKQQf16RuqQLxachNawL7dSlOtic6rYCqkV8yvMjWXl2G/mgykrNaP6x7ALD5ZGKptWvVWM20hao4+mwLsCd73dE61PNgmzcsasgW07BzHcE8mCZM/2OvxTCvEP9NLpe3SMRgUgjRmNuGe13UtVmkRBqtpmL7U0bpDnK+rZUo5KBnJb+lMcipe22A9rpOILRc8Qnl7MCSSyouivk8gQjYzJfjx9msNGtrpAcHq/FRR2FWN6B3Hg8qSbcm5QFK46HnJ0r/huD6mEa7Xq25CuW9EDnpSuZGy5ONco2MS+88m2xg98H+cMP00s+AUO7yLz+UpcIVX4iwhDqiDOsOYEggTP8tP/dG8SefpFzTtXFjTynjuUthXnbNSEOiQR4T+bFaSclGNKv/+qCto3qvaZdr7m2LSaqraUeW3hMtmuUxeygy+Ni0dJyCcEAJmdJx3AxVQUNXFLZLrR8XAqy8N95va4gQMOTAMgtJUb1WMOpEfsRKE0z8uhdla4Q/B2NHRLHwQPVhhyqo28oE//lZALTLdb009A+P8+wVzP4VVYsGtFOAK+C5kdztlEJEV5FJ91oy51NZagNKYhYZ7U+l2v381Id+C/JX64oUiUntsF/0a547lXXbFz+GLXhV2kPJYDZaICE1pTOqcku24LXP5EVLcTSZBVRaCMIPH4AD9mtxG3HBBc4pvggnYbcajouOu+/93dd4WrxT6TW5L9SOlK3W5ZuRD14AXGh8GRMDLgWKkjklY96vf9bKVDeq4XWi7JtBX07w+L7qBnhMhQVGLhrUUuuBnhIgdfP5KwEH1MaB9fvfEor2NEfZyZxr3CEl5+zHZiJkgFb/18dIsEflctg9qDoVH43ZN9RsvEgVBFFMu7M+xD1R24B5JQrZVSlr444iEMjZJ+b11K5GKuMAgXb583jMI1ZC16M0XFIQyyrHJq907/HlM1sTsCk3O4KP2No0aqMAVA7x2p6A3iY02SnaX4YLyWiuAu0zF/xptbULRr4qbppcGmWlAqeC6WMjV73MRI9OiXz1fFuIkFODZG9FAzpruSoiLPdNIUFQKBGJCMYwRTLCej4TKHHYxuKQ9syks+ZWWBQYGK593Ln0sKAxlaZojydehiMNIZ87XQP/4PuyE4YQOiZdwya6GvzpttgZxV0jJt8DkYOslN9K7Z3XqruIugtkSl7CueRrDMrKbT43IBcuXG9eSIYZOgwEFtM60TTopk2bhgFnsB1NU1ZyYdl4JSMwWN/XLyuXprHHsPbo+0UV3UBQJImPGZaf//YL+DycvU8lEH8FwbHrAlGCNCl9rIebaV4I2OF6JBXT2mjbsNS+y1C4GYTCMWl83lxhFsQzbYvBBIOPWRqA/8iU1ugLFA39I7SkfTCl82FdQyfBY30se8EEXt38wM0bAwngD7zEplA4FADz0CMurMWPsIrfCWt1qulf2lcRqHIF236AryBgnwh4rgrjxhKYE3R1VduSZj6BviPUhBkn0nTH59ZNF+GwxKJ+08k7NaT1v5P+CYcX4DSGgJuv3R1Dm+kTbtlZei1vju+4WrqSZi6auEnMd62S1ipxskqiznJwCAQmehqsy6dywA/2fenQcptnWwqIsUbAzA4TtnEmzv4UIOEgzLAM+FEjT0DHJtI3eZqFz0tMDaD3DmySURXppUCZ7e1WCgDFyGSM2zDJ3SYdBVjDD+e6b8FzvIbJVtAbHkji0k363qgwsP2l4MMaVDJY7DWVkTXbB/s6WprtvjPuDJLDtZYJK293SWetp8iHTcZCJMCuURsO9JKv98aRBKSNclf73iLB5LE/xuyfc5tV2haL3C/A4oKpXQxoKo1+be9PJdffV7imWMRHnacxqikWrYf8oC/8t9MBUyJiiHShI2TCw5ApIB2wU8j3oGNT3qUVBMxbg4oji+ixFIArC7QWEE4+qRKwNdXmry+zpVk8E3dMdGVqPmMN0VFI9jqu+RlSKMQNKAaj9zOt6LRXDdl04oBC+GRVrjr/WKgn/0dHcVq/3tp3GHHZwI1kJvBExXCKHJHRyrAvJCVSMB8uwbFdD01R07ulRCx596SR1uHZoM7Ex5rKPVPP6zq5ufzJb73L55dIlnuGv0watEbADIk3xPcVa8lIpATRF8pDpACvELVI9Z1yFpS+GcljWcSKDzPBh1K1biYTsmfbLIfZUGZQ6IPeb6ziSgNvi5QF/pmHxGraSBNXiXnwlAKbe8dzwfggYYhKqJ6j0XwtB+V/5lsqAGuFsRTrqB0nb8xyTRRqIILURfObs08lgiUobMFLA/TXyb0qeZVpmnU//Gqp7mp4Kosb5U3McVglxrji/otnFC03xbxCWz/0o6y6USGukLckPmxkZC4U/kBMfuupeRQ2x/kv/jGE+Nhij1YBe7rx2wMyapTQm6pTlKTPZnr09vo5xKXSzxiAeHCfCQS4cyPWqUPrHjM2F5AmrCF/SMewxgRVJ97YqMXVwpkBOS79dPyMUJmSpvN3Ee8XugeLidi9tes7HBU9aFm3qpISET0wc/LqTp9iNvKAErod4OwvC8t6wo8XSf8ouMxnPW5hmDmGQMiUIKqbsQjoJw0Z0exGZxGG18v6wGqSEX+Hc3Pd/Ybq7uCE/7ciK4Ob7H7loHref9qKTFpintSdd1Aewzy6w4u+86iU04+w4GJyfIOJ07Hm76Jj7nV7TZr0775DAbkKn7lxOMBpHRATDlELaEbLqWwnTnDZOTouuVerYW2O3go98mDnh7Zc123/sWSNROlAovqWiEpur6IbZ7zHgpMsbEYhq5duvmbz1U9j2qKD1BolhB/XRlkJ+BjKIHeSyGu+vNOwSfW2+8+txzsI5yGW8iBfaN324cxAlOZW7TuU9AxHgwVsmnNlKVxoDCL32SsghNH6izGsMSxHvJMr88sS0bst/oO1dTCOceQcncevkXqLQLJIO+0RuBjfnl6bHddXRRwzmG+4c2fig1cKfTs6K5xPHke9s4h3DTywkSqAYA1++lXgXvwqsBwIuInGtbm1qk9gzZUgxFgHYQFJI18CDeblnUAO9gm4uGren8ph7SLbwIOasen4tEJIDhrvw0MtixcYVl7+tFH3NXdwopzK0l3Q6o0zfRdkCe1sB3QIhdzH5iQGrdQXcRU/jVVJ2FIBIM/Zn26TC53RhfPjWjpbeH+jFK3ir4nzAe1bFUn/ck415IP2ONsl9Tg2h5f8gMs4rgoEG8vJ8FMdwaqxofM03mwvCpdGMWsEufJ3IwrcYoNhxBAxxQkk6PtoSsiov6cu2/P69PWmAZCeDWB0O1LEOSypF+O5IwjZFL824zWBdPfz439XkTvmzqvMFjMtY04gdcw2T4wywOe87c6L75a7NqnqP4heOkWpf4DCuZkttRpYILRzlPpJ8u/wIBNoocE1ql1EishAjrobxqj203tiIf3PPLRBxOoxMDCdsRtLO5mu9hITH2NLUUPNfDZAWB0WYRGy7HbKqqoVYWWpgLCWtR/ii//opCp1CZJGd/kJOVAhyt+ghuGAd1kiZBt81g4q/6IpWVNYCB2aXKdvKhQ9c2gSUdvMCSLl5xITvqqZcWjqIwqhz8CywMKdAbCNqVSvKsUMzPSlFZ0yGpbAZUrZ4lWVgJwT9TjsGH+wnFt3XLihzV2SDYLx78MEUFhXY/zGaxMFxkE24A+ceS02Xb36cWQUohqLga8DSKl6nw0GG5jaKElWQLKgH/9iU9ghinS/1pC/AUTiilAMWLfsDgMmz26OrCogwix8v6DyN1hZbyIuRcYtXFKe7kBmK2A5SKVprFUyBLvJkAfL71xJEIRp5N77QotVty+/WgnDEKMOZNfnDOv9YaUJLVDO2bnivCphc8qmuAQ1IYt3V7CswudNIdht5qpZ578yFgj6a5K/4mwsk1QeM0EA2CmLlHSvfSxEllIDYnDOGyIp4mncnF+kGiD6j2nGrvjlV+H4Y+mNspbew795QBo8e1mwzVgnmzsOqamDK84Q3QgqY/+cyrKlqutP/iYQL5p50q2iDLJAQcwtCHqy5P1MTzt8ynhS/ZVW2dSslqZn6Tbzoie2vZPQJKCgLVDHDbBzNudxge3rsMVghKYYjGwt3K2n5Xue/LuCyx0fTOqUzPZGAWeOIBgvWYvWIN4JiO5Rt+VVZLWRf4PlARlBsHGUJsFtY/cSnVynheT/WWyqMs2FsWC9c5Ck4YbW/bryw4NkeXvbV/mrPf9CVmNGLKpwgrRXI+deTTRGUWBLmYoTqYeuCQVtRtp9mgfcbJOotcC3Xu4U6yCh5jhuhlbVYDLMu+q50VJH5AlurYY9HslrJBAFx45pYMeIzyM51qFWqEQ5Snfuv7xYKOaEWum/A2dfzpvetUp80zbjhKOpC1JqwvpXplr1xNya/nYGCIqOchIHZwLEPgT+y8wh4KVpYi7mRMrHWh1Uf82xgMHIxkKdx6XqvSyZbGoHi7gNcBqvx6qXD0QQi0FNMZyUVGwCnpDXG94sTy796+MuFgiig7CehY8cCx1Ad+7dKYTQizYj3eazXjHDh+XuD87x6fSK0ZLJKlMscpAnKfp+H5lerzGjBGmteF1Rdm5mTKNIfsIbbGQXmmULspoq0Xrg8OiBpHQR7PYpEEXhmZ7ZrOgD+DQs9Y8EFEkBSeJOB6tsiMwi8T+snaZtKgn7fKf31btuE2Oe83ZnGzP1b1zwOCYC3OBaXTM0Z0PhPsb330FgEjkL2jtzbK0HMvFC6LjLJVZSEXziY2mQ3+8J2/FASfM1wDEoZcvsQy9f1Ex3q2fDEteP6FUFe2RSPHw85/uRGaOsbfQKcSa7FlGzAD7UDPw7zdwLixJLeBZwGtaosC8fyXZlG1te00smcP/QbXfKJ50js/WOCUZLDpu3WVXRgfHKvg/DPr3gW+8aB7Pt8hmf59hk1yDDf8vrD+684Y9L+mJm8Ncgn462G3xDzSZjjxe+fkzqfOeicgZ+QyFas9C5DtFQrMTRFabKlSXVsdSqr+/t0+f6iiURbtpknE/iSAc6e7pxhTbSHB+zyUzDFdmtm9x/uTzquNAKEicq1g2pxsD15pZ9hn9fpeI5IHf4vT55+NN8ZrLii2jeCrbvMzn0ZkF7DB+AKyX0v7nnAH66tRdXRk8zE/iJHntdXizyCtvK9XptIRqHTGdnmV40fgLhZc5e3qpj8N3MEE1N5tV/geTHpxwFx13jbrKjZB8Sq5UKRYgG20Pepk0xDHcarFkcbPQ2yiAKF5d9K6pMmSshHCJW6hd14GeJs2eDtbcLqqGeJ7RPsj9YPPxq0DVs3327TGPxDpXSDbJ5e5FzVzAvhXy9tOYFy69MkEJw4Gtptv6UrSDd8CYcJL+zOCQ4Kf6CZM9JOuMtddFVWkmap8PjGdVZiE+WSlVBqmePYsnjb05b2b/KshXAKPeicB4TCzQWXpAFewFRnzl2hLLruLm647lgqF51E8ihqxqnsiw8MOf1r+1cZxRAN6aDBB9VGhvRxwkX+X/wEORT5MLHYvC1X6BA+VqOfGLBiOtmaBrNGD6WyWyBt/YaVQl5TmRlJt+HSTVVEie77dtbgWURMvH3MYJHFG+n11HUi6bcSHXxBMmUsfL9z3stY77xDU/ZEyrdqwktP7LqLtI5L7hQSFXMUO+ftozvVOoUATrcPTTpjdKy+afm12dxR2YA/1yoA7bq2fYy9gE7MjMeh+FTnDvkqqdTUhe5T9xGlN03FWaH0O0HRtMTNo7zZFGcZMVFpf7QCNXoz+uZ/OXcsyfgJVnXaOwbTFtHvIHv63oyEVF8KUB0dhw7o05Wb4/v9k70XjnnrfC7WRhgjb1EK5OAmxfkR4Ht61upzHMiFzH5layEfQ69wkWCVBXzJr01y+wWHd/7Ni3+OaV3znW4uXQtr9azbOrLRYBvb0TalCfP8wjVCYPnp4TKxX+7Vok7QukezalHxTNsm3U6zKYGWcvXsKHvZU9r6zt58DnnP1BEzC2giPRcKVl5Dur+b9iVtD5HEhwBRQ1ZpyUhjo2GT8rREsTP5zRBPopCVu1I/LEKrXcN4PvR5wLaj56vFo7wd8aqVJ4BDrsQ7+iszliB4siYz/BiVyE6T4ZXrab3Tm/ko/woluWJxpGbaGzGN/QfVEZHoZRylcLxYe29WNLmXUy6RhDJGkTkX7yWopnje1UOMJcUh299kOiIDasV2F8uZczK0suFJJSmu1rDACUDXCc+6b42HWmZLRruX02YViKX09S3zQ66gfeat2nLPcqX5AuemxL4W/OKsnwsG6yBA2RCCReeDDwbHo7/o1e+Fgn2QZ6+B8DVGuBydtww0PvVtXMos+48LTVK/DRdZlrpZLdeolHQPlfI6tqxljaLcOABoGvd7gzOWt2TTp+PIk7kiclapwhaxdnHAyJgBsK+TAxh3sDhN1qj1v+IjPPDRXWU2+fMq3bGBV+GyzTtWct0NrEUSL5E3bTn1ZCn+AiAGRotJBkDJHBUBoq9/A0SZGDFlaVOYHplyqzW1uwqNdcYGQYXJyK9NWjr4iddObCDkXj/GnImwn7c6Hc7vHeIh3PV4v+gzLEPdNp0uAC/4pRfngeeUfLMG2mY1IE1dMqdzPFmMW8RkHGxo05b6QqRSD+ktTZdTtlefjq0TpFwskXF7LxP+LYPr2E7D7T2ojMVoYliicwYuT+005IOg1yOzJPmB8p9fzeQNcFU61lbEe+rYcsKA6KgYhlrI9NAHx9y4BvIjEvyQUouOGEMCSjZgSwXMk1+vOAgk8uCavZBwLZbH3INypt3hOPOPg4kV+TB9Hy24vwQCh4Po5XGyJIxkEptXDKNpSFOLpXoumGPpR9pFfjhwrfjaRPIxMx0iB/HcmqTuEVK6Izdezcjeb4Uty8KPIVZLOB2PxUrKk29xbJIc7TQ8Ujsj5VH7UHoMRZXbXQlNk84kkt6jqKdxBadEgRg3iRq2Cq6aZlTZSGsmZz7FLXRnx0eGrmsHMfNRA9pra3j3Qv4PBIV0vz2oTzeuxnE49IfOy5h+MwtWrpo06YHJtdgv3slc/ENbEDqTiMGRxelZdMVhM8gMMZbwFIhtnpP3dNuNwxI5HlU7gwjbGEBN64rQx+0sIkaXjonAzzQk0JoE+4BcYBcTv2UN/FVpOz70p1akFwhzpMCkWcswuRLi4wOo56uOEu9FnZzBJGZa2GZzjAcUDEomdLrYLz+VR9Ug4ud6PdV9vw78pSZ/QSpudpfsss1ljdCMq/YKOp0YP7UxsgK/EVohnrFyBFlhRUJr3VMmq2N6vquw+InHQwIWBATDVpriIeFM4NJBnCY+p9RU7RD68ndRMSjWVHAon21+QJhEi6fWfWi2UwcmjcbXcA+VL1ijQ6e2aQob+Kpr9HxyTSAoQMH/E14ZD2K7RE4UggfrLgPGnZB31QeGasGNaYSgrOBWkyqu34B8l7r09UBRkDFahHb1goPdf/TYSZQBHUMLNYiaApBViRvDfSdblYEH5SAfXHOEyKDER72xjbRAPHDWAMNcH62mmKBxOwdbU9gwx4fQqU1L2jCypQRskGJtF0Ev8j0pQ3MmQu0A8on3MEi7LzfsveXi9y+l6yAw2EYkUGKc4PvcUltu7xaF4ib9ZXPepmOrNKXTTy7ko9yiTsvuKConq6gA/5G+gVuC7HwrA4L3IamPgORiTiBYoT/fD5if1Mw2eq2G/hFPvovgHWOb9sIXEbZ/4HRd2X6xMQPPOUSMcTRD6JAQoTtErXbthfeq9xGmoPL+uTgTsSmOiampTKHZxSS7fi2v3dJyf0JO5UPtJqcogbIWj7b6tjt6VxqnWfwD7NdAOOkJeOJIyTFwQ43pogK3nDVAtJHNsSqufNQCOE+aJrNgKU0zFJnFPQdh7MvDsrkb4PnORG5IBcm1l8405RWXU0BrEH6L2W9rCMw7Wezir5GTdLl3VStXzScA3pJWhNEtlKiYiOUp3CbBPjFEx+BCvOA+EWudEzw4G4E2DeyS8/dPBIp8lN3iY0X26UzSVerMmB7GONBPoBJFCM24PPxyaKi/YYbJxU54CkZSkcxGjzXJkR6v9mGYTDFcVY+cWg9n6FaBJlTYujxcSmmanW1oJBqbKKrPYG8Kyf9gKw7KZdJHiVjyS8K841+TEroRGeK0dG6rPtaLS0TYDDcSn5iBvpALgXhWO7Lu0lMFDw5o+bD41Y/dsSu18qlBmfBwPxQVJprpLHhVwTYBEbQPQm+K5zDQUFqPcVYZuzERTJD0DGnUTvb0lppjUBef7/DdPtSB54BNwrCxqY0Qm8HeMGfngHo7BYiOZ/Gj/RrDQzy+7N82aqWryGtXRAO2N7FrnYYtMOJMJ/eea7Rvc6DRpdx3RC7EDNjmf+0jn25LP2Cw92T4AfGhZgNw4N5edYfSDeeJaBRDgHFBObwhzWr9YIeMU7Jtq4mAZsGT3TT+KrsKWPV/S0MJcky8tkO18ssMAPA5XCP/zPu1wNMsI+s27pfwT/MUCBEYnq19yELuu8iQQZR9deSVsJQ3U56ZLtDQJf1eIG+GwlLC/sLFuHsUbHTk0jH9JvvVSY0V21iNgOcDvUCXNRnBGnIQxC6MXw0VPPz3iLUs5ZKh3YQ4XX2fNQ28FF01CEv2glvvaR59vtdyLOZDooCpWJR4mH5/f+k2i083x+sX/GAKm+FHtI/e67IzNbBG/XH0duJT0E4ZkgxMJopxiuf5aUf2AofxOtqq6mTq0biBJT5YC+3JFjIp0n0Y2jilosA/o8Pk/z+NpzyUO/t+k+PUPt4udWHyT48YKdiAujQ4K7Cdi6/QOLxBIDaTnIPjopjM5GytPMKR340EdsKUzoSrqkJgsvBpg39a+hw/ji9ivgYUc9VBaMb5oc+eSrR9VyPw9lfwgs9btrIa0K53X2n4DeQ1jYyixvo8A/n7B7zavf8/XQHlRs/EpjXcDIvKj7LnedhlLa4WYR9uBr8zI8Wa/QnnQgYCRGTBcMUdtRvJSjiFOoiBN04060VvFwgmgIqNizqbjAaAfkM/ev5P/kMWVpJzAmfv+UlmDnv6AnChcb3sSfJKYj449G0QHyT2wT/T/grqhWbyX+kWjtmSztm2e8tr0foxEo16PIfFI9b4L0yK4qLJt0vwUSku9LN2IVqB9SOPEp1zQHjoLDOarJt3LMtIli2+jj9rA4DNqp5PVQCeiF1/nzWLYx9LFjRRsw+XhSjjy15UQ8QTm25an5JFFDV3qXFugJSUJExsLkDjRkQ6sWx01cyWeHSDcrYpUtySG02Q18x3iOHEehAU2oiy5qiVNmedhRcSmhP2mv7T878xCz+2drMcoqJmCpsGnzYfzjuSXg+aeTWS1Mie6+edYJVVsFzAkjzu44pPU8tgozZbkjWrDMXkwhuIpGXbET2In0hI0y/Lfw0hooGPU2xsnyKhSaJJmgZ+1BgKm5U9P/EJVvmAc0FDXrZ8SfwCfsrsseSFqSxpXzRQCtmdnrPUU22Lr4liJsZk2yyRp+Wi9Cp6S/ZqIJ5pyMqRct0RAoRGr0pWIO5HxozdUrK8gczNfVPdl6PdxoI1doR9ArxeUnC3ar0OQwikRQowii9vl2S+p+BpQQwEhAkOQwxiHOt8r1ERPNBNdrxKXhuv+RxfrnUkqAcxHay3eCyXtJhDsSEeIhxGQO8H54G+sjuzGq83Cp2HkGWHEIrm+5QIVDyKXBw4Q6nlzkgh0xmrg33JZ6LopnaVB3J5encFOLsuYdYC+lbB9vImcrOrIhGsdhNmADNUBUri8thjRgc+u8O/AyXasuzWsome/QO0Zh6Pu5hX8+k1F7rHIoZKnoaOspgkqcMMBF6wuSt5yDXCxugBi+SauvVPRQHz0NLi4NpN42mXfZBRLZw9VW0NRfjIQ+foTOFCjhz+mIVbN1cnitSOjnXrSTRJZTayiVQHrqn7EOVCjrnktL2lNtHPPfS8XA3PLTHmgXwpxKEHO81WaEAgBGNLr6slhX4ODgYXjQGkjrUqGkZSnx/sSGV1v0DvHqPQKAsjEVXCfkgK9t9qMbUq+Vx4tePBvho5L8ormUS4e6WGFkwpcTyZCbexIXR9fy+aTJ/sZELePpq/m7qhYJYNbg5NJdZPKiTK7jM4fyBxNYNgkEBa/LruMXePoeLx7lHhcf04qALB/tusVZTVRPBu122znOengKLmv7wgjqtaFfh06PuiqFn6zsNFwEAvjvv4c1u6ukYusZpVwG/Dg6bG9Isza7ljzxEwHEx+5alK1n90cTBnBXi/UCHb/G+zP1DjGPeM/ATiCgU3Qp1eeiVqYD1EKfGVRhRUv9gdZI5+U2Bb8WoClRt0JXagSBcIBwk9T5JcJWJc/Zjrhx0rKJ57Z2h3KgxeBa1vp8DE5inw3WRFVdlHXY+rIbyNYQoJnCZX+CrsL+uSNhZ+ISRuA/yUUa8eqpkAxHD21xdGMC5SdkwmlZVv5GW/y3n1ayHwPqgJq7WPexdIqpgT7JqyYpwHbf+/pGFn7hT2h+Z7bmxNdomSP5KBtdsNukSZcLAeA7PPCc8qtVrxObxmHOEJeQrwTCzqBps3I9bsCyZtZJWtkC0PVkB6wZeHOkL7cKXh1LGxttfgUefVaouzL+2LYk43XwH8fC8joa3dE7tWwoqoL/9z/VOYJPCRtpWecWsmHjincx9TmbFVjNhfxELzk6HkF87Qohl6Pr5x3B6ib1fCl/OTtJQrx4xIbKiFFJlEiVHUgwwk+bZoN6ZagRIHRva4NR4E7ZmKd7+I2ZoeqGppA0Z18B6qgMrHk/B0Ze5McwU3h7VWhCismflXH5a0DEX44EStXMX6wDrYXD8KKHm+yK7dvwSLkAIpGA6dq310JY5/226Ji0NtEB9U77wqWrDOPILx6LX+E2oKA765ba/AMgn7JoqQNBS5Eq5BHMlxIgMO5zRNURB3SULON4WI75utpBTZTz1NEdHtxXVYBvayLxwxAFfqCJriPQovsDg9S5nVxmiXQQhjTyHJzE3nJ9yuI8wVg5bvLpGmC2ejDV77lH29J6OKPEAQHH8oGWVd1k7+p8iS+07GsLaPd8gU2xTGbIXOC5EFdxj5bHUmKVJjeD2M12xqyMIJQH4ko2U2fTJBnapbYmSr3eWNFLt8aMuO4pRV5m3K0JdE7suFWcG4e5POeTcRgyBP4Wh0TNq4rqKfDr1Ah7LoaDKLxSmg4F4QY+URtjxOKSbJQxcbFe3LHOzD6O6h7FVHcjMOI4leME7e6UTozaG4bg9nLvhept5YsHjZxGx5yfIKkSZlPZnAWNFchCMI9QjYdwkdPOWKO3vTPm8x+hSQ6ZH8vAKLMDxrNSWwRd6UbU9TBw11NmryCeZPRfmwfac+IHjfHV2qROvIRduXsUaMuxPXJgz+iIkovJnNN9baAIBjfRXHCbtmKRcvew2IIc53cTJdNF6HkZr0qtQCNIJUJFLG8eoeybVaqkSE4hsY8Va3BKL+ILn9r/NLcJtn0MDkMVEWNw2zBZl4wGRHtdFvRZb7ljVSEF2Uj1bLUnv5udAXKICmobAo2TqIlH9deWrvKHkG+E1q6RdjMJfJETbrrPkHnR6Ump3/iDcIj8fLVuGZiYNP6Le7veWlCzY0Rgsj8uVUEHVXQRKjJdYVY2JusDU0naJMF7rw2F9V4b3j2TdzAtYNYKlo5Av983301zAFJu7GNIE9HXxgq2AlMWoj8z8VEnksbgwCS/wEHYPCZihGZtJf3hHy0ODaDAk8IJfC7s/wQhGNcE+fZ0tOmP5VH1z1PwjbJ4QlAf8lCbkZnNWrmJ7IGkbcamt/2d/zmukY+/1sguEU//pLsFV3mwJCnPg4w/SsXr7HcTis8J/Wl1lI2ZIZZL7V3uT7TvnKh83FOF+ua+6aXaqhMLi7yP31Kf7qoOQkguPeBMZ2bISnZoqvkv8nQivgBRZOTAtLYDj38hMrMe8AQovkf1uEw0APOSiOddh0XhYPJbVg+NJ9FCXxtstelAB94cgzGCUQjfFsJq2UpeTTb8IYANZANgtPPAax6J1fSkxLcTGIDEEOrRsYlX4dFHGGIVa9PnwpY68HOoVX3Z3yYe84mAok7Yf4gne9/nZf0tZRSNjF4Eect1DRdtyooaNCBprGqW8G0So3TFdR4rr8gGzC0mWW7VYZClIGDvMnl0z6IIHXuSWu+E62YFJnwy+rwr7Dp8y6iHmRpsASlPFSOY59H99tUZoFcoXDQ5i8TeKm67ohl9A+uB2TBjy7Aw/y+7wRqsr2oA2lATf1kKWs2WdyW/LKFm+WZUJvNq9x2/9sWQD/4DzMXY2CAqlGTg86fG177X7nJuVaxdz1MISFD4y18OeojEQm8OD2DrXPefKxb9NWaLgQSfE3KSY7U2JMGea/HFQPuu8GDLCo44e/fTKx1YT1PW9ZKOu7iBnYg6aJ7x0bMv8RBDgPw23MQZdbdCzNluSq9UjAYI9Pj95Gjj1OnhyFzWeJUGM/UTzoHmpkZ9mcNaX+TgCsbCmWN3SlfXBaxx3GE5rustSQiP2fgSq+jH0WtOYlC48eSQb+D1FE7kkwOkUOIa9FGuUd8VG40lg5jX2zTV3gm7Kn4J1O/+FJOJMmOSQ9EwSowr610p4W6vANwC/FdUtZXKjs9GiptsDRNp5KW8J4DrH1q1i8QlHNlDAXRfswflopURhixHD0aJmNMGK8YuU0vuxc1dyQSe3vs2MpbYqIUtyHJ0qrfNGIr0Y8fpkiJDCJPvzozLZ1QQ5mKPFkspyYflc41Y4kNJn4vpBp0MJ8hy5KaiWb9tPMRY3W/C0LQzYgIUNv//1d6fy9JP1pSXr5GscwtAcmx867kn7bOqUnHNepgzkhtobIpJ0joxYECs+ouSo0UyhNGjC+1wSNeKKKIQMcaXSEipNvrPebfKj114S1jY84e4NoMaxV946zWQBTpX5VuGT9kTyY/4x4nblFfgaufGlfIJYP98z7WJEHyXg4xFX5deIRVa/5YvUMzchcbK7hQDvy94U/y3AoUYWua2EgyBJHSHJ8IXJmQMmCN0kg3bnl8yiXMyXZGkY48QClx3mPIwb0xl2bpkzaWWODwl8XHevond+KNpzmIgIvH2bWlnkiBL0YtBvJPBLt807DlK4D0HjpIIZYR37FbFyViOeYKSRzMJAyNeFk3piEeb0eI+yWKLyoUMK4C9ImqutfRcULU6FDEXZ+TjJcMMe7IGVyu2QiOg0+LsCt/fkAh6fbYn7tQYZG8359eCDyvbFtHW2YkzPgtmz1YbyTNijy7fnDi0I8x/czPT82+1009HnqgDD10/i5fJS31jZDYJlcEKLRUFMeDf9ERMPjZtCXoPU+vU7/+f7wjgH6v5CaqLljQdeYAaF3wbP1uEHRZaJ4TAk8AAQL269QDeCBCTl7Ixg9Wvq4VPjUdhQ0dsqhLgEEpCT78rj8P3dj7nZEozSK/5y3FSW4MMCj5WZLBFG1TSP4mIpSVcOY/hNmZalQAsMWxkhdXxxG6Bk4sLWXRHzJtJkbKv0pambLn11Hnn98xZBHs7mq/N/KIWCMfj6ZgSq/WMx0iIX2QlLJx4f1M/Z/parJctDPskk5RfUziBuiP6qVpul6IPPEfGELpBoVi4ULCUh5Y96SWcDWvs/IXxwn2/C61b+OWEdhN5UycyMNdSDqiSocBYX4ZFJKh7yJH7kY4O8WmQVBOpsH4MJEzfjTOHbst6+VqroL8MD1OVu4ctqSzp6ygxJWZGharnSYPS7T2eFMnzJvCC5sK4mS0R5LXb6cNrPu+byxzRYUF+1u/UTV7vRsKeOwNEPYO5oUZgHZGEi1yycS5ijXlCsflp5mrQI/AZ3oH1ioNpBfVtAfDjTwRTPKmn2Lm0fBGm/PMFR/Sqri+avLesjR70vLaOoDoRJhF5gNrmj0JZwDSLDj4F4JZT3LYht8DkZ8iA9ZXhOywKF3EeTAazxnjE9yWcH/RWo17cMolBHHIP/t6MXcu+PbfL4Q68fZqXJqxTljPH0vaNGjbc65dxSg4ZwKg0fPmUjR2bLDFV8NQrWFfhY3nIJkywxe8WHssxi9AqPEMQazkpigmZ/4e8PP11axhT13GBoW+Ak91C/UrE83b9x7qiFWwLfNzRk5hZwWzEFYV3/6rXKAyrLaPyAz+7+JWdPSU6cIQ6eMdJMuIAWgyT2pPs38t8pq/aH0OqE5Ap51/QNMPw2CjPQrpsH3neeKwHCuJ9OV09W+yAD4mwOpL61uKR7MMfDqzIJBsx/EBvIJ7zw1xKx45LggWC3jMlAX0lAxsYbTcY8hdbvMNG13ADpC6kF4CPwSwuzZ7sQTjqxz1S1FQQdO4d3QdCbG2Fav5yE5BHCPY7ct4rVqvC69+EWcRTOF5Abqt7EF2kBT8WMeeVnmKEdnsJb6fz4TAxsTI1Iz7IIqeM0INO9UbDy5YcWjCGrvRqKkcW/MZA0EQsl0w7SHOty4w5ZLHt2m5fg3SKL41uEZW8P+9KBShBgrilhYsog5COUsLEkkqSsrk0OwXlgv3gAMp+dUmVHrkEvdccuvKbs3dNAR+DPStrEmfde2OsOP08Sy+JMCqgkLEfKS70KPrIX2m+9Fq9kh08HkUpFpnqF+vVSEtpH0DrDePZlbLZxZafrj2ZwSMf1/3Chl2oJDFXsay1cNYpAMN0cUL5GPWtl/d9PKTzk9fdGme57Yo62SmuueM1LRUXgCW8cRRuQWM75XCPRVAnnj0YYLyC1YNI/U6+JBJbw1q/Mk25fyhE9rA3w/qrCpqkfxknYcjHwP0TFvNZ9Mo55lWOKBn30gBZZeuP3eBQmfJe9bLkGuf41y/F72iyPXvBZgG7A/mA54ri4Oxy61FfhMbgf1O0WZA5hkK7Ti8scYNJkw+gbymBvqLQjUJppi4MDc3f8EbOwnLjbqat1VnknPtI5+TGP+xoCElfcjNJT4NT9C+RUY5Ve7k2EW24xvXQHTEnUJ9dnge32m6ydiumJ3SUT+2r04cyB++5UIq0Lkh61ddDpxbQMB80pHVl0f1UrxNz7QPOihK4GEyD3n/ywbhr2vKJq9qZEgl2IzS2HKnG1JK12gj5rRvCJk56SNJJlEzZ0G29eZZfllkcyPl6my6LPpsSYuU1E0DgCbLfU1i4fcPpUZp35oQasvulxfU1nxiwBemNmxTFe8w20KDVLOuUF3zyLMgPF61t1NHIXv+Be5RzGLDiun0ovmAJPu5+YZwFUmO2N4DRe+THGX3zT00+wLDj7LpcEKUi9lwxGzs9HT5lgo33K/bVWNJMMWA8NRkINaKwGleFm9G25SgyBjDBHdWugQ/4/zgOYhhccjv3xf8HBEAYPEfvdUzfA+5Q1YdJ8ux0sKCSHQdmFAKO/W1Bu+r+IJW12UU/5eV5v5Re4NXeE7fyfoezbZxoJeNm/y5wg8sZkDfLuzhuqzB7IybhuXILJvyejnZO+raPvrhDGttq2htkzweg2fraH6fLzp6/e4LlcITcmVUndrpgGz2uSp8KRJ6QwZgsOF5l+irvlyhXBm+DV0EAj6OPiPiMta9Ac/geOfR2yFrqbuKo02Che3sMdptWt1dA8FOIhR+Ygx90QHvfLXXdo+jFr5J+FOfuBHx3YBjsnvX6jUATl4GbmaR7gXECekhFd27OpXSIihqsiSYl7YsorhrBTF4Ynn+3BbT53ebYt44ImN+p3zk4wES1HVWpYQdFwBN2+hBN5EMwjSsgN8wAPjl6BejoT2tiQDXqkffmQdclqPq+HuDNwqYwIkEQA6r5GtcVrilsLUDxZ0ux9h4W+Odg3ORSlhIoKYlPJ43WnZvgQn+gOA746znesvCdaQh5+ZuMq1jBEhf5dFVJgft/uPbh1VhP5LFWq+5II0YDXv0xai+kWNBcB+t32ZjfMxQKQCHnrDqE2YLLHBSn8YDfpfwlkaFAZ6GBjJlLM6wG3wV49Jv06zf/O5X+3CShD/YHu0rwiIIWZ9urlNhlLIJQdrKllxI7bzJ7scXOh6nMAmP6wlnXCQiSsWyXkGpgcwfn9e6+2n5D6XHzQrVJatTqgFcM6Rd+xCidyO3UNQ2h/E1uvKoVC/Z7I8khbPn2B+oYOyao7a9KJyp5e+KZyzggTN95QyeMXA99WmaaXSjPdUF6XCTGm44RbIAKMZbdhEilPGsijIuTOWd/MB4FEzDFx8gS9dfKAICUaNeLMqxQQCKMKNlEx2wsxpkEFBfxCm3MkR8cmXs7lq/AKcyTXaHXaTJYm0FrhHtTHgh8bRuqg8xN+nNnVdJrV36cDo/GgFREbABdXnS8jAsOFIXOLQjOrVmGmx9B+NiZPRNzPQrX7yomTCUGA65ZdZbqMDvvc+CXC5aCrqFSFfRxiuDG8b/h+OP3Wvaeqewc8tAOlZNrVlPL3iH+nqVeEAUvVErdiH7wnl0EhftRv87VpyswxLL5L4eBNkkPivvSOR/OzTYoZhtTIqFololLnvNkjZC1XdsTFsLqUj3l8Sb5YUjx1q7bRmrxTynFKLm3gBQjlzdBb5HoVRVi5k3pSoHOC0cjjCWNaBpJmmiwPLJe6N40zn76PZL/2KKN+hcmkE4GzpypAjR72qKoErBo9sXETzBESOF1hG7BsRxq2jQxP/n5VW3w8NrfQbCVvPMne+g+0yg2G64282/a8mFWWd9fY4VNBtps7KqVxCqi1e7176Q3FFDKKOJLT2JznPor6nu06godo4ZdsosE8n4PXAH4xlgRz7PPgpW5K3jVqXqsfXoY9UtBNtcCoUaPbCGGIYc5haVO0ePqIkuBvJwue1Bq2i4tw7M71NnCslxQjoGLLolOA+gPRKPI9rSJ4sZ0LoOzI1bvgVnVorFaA8k8CFTA0Njd47kCrI9EQGkaLqsQ9TXK85m/ZMGisuD2bYKNH6LCS3yjQUtr9s37jNWWYmF+C52KJED6ZE5ipQeHfShrWZR0RbkwHlT7Y/o5/0BABkqrk2nr25XyKO/m7K1Fu3S2puJ3HBXEj9Xdwkwuiu714pzVwNQy0ptEqxq6mAUnVrDZrUWnE6cipkrKBVOLaX15m/+y0UaTv+ZBpoSUC+jduyWhUCbg78LwRnKdVP4T2xr0g2fa85PT1CE5FPzfIaflGn6wwm6YknepDSBg9vc+pYF5O3M2oajgHOn7Qnn1fWrw3HV1coMSn8vq3+c9v6EkjWiySai3AB4lg0Svz5wPjPsI+T+ScDgtTD0f66kTpQOwCX55Z7IyRnuzEk91srpqkeHcD8EXnghi1Rk0ujKYFsVI6UTYwW/2CP5f/+kr6vp9wOY/8NSYYPMNplIqgFvHt9EcIrL91j0DJHopaAxZApDWDSGYAkbPx9/UtoDmkrx5UD9nVoWnLeSyDO9LJqPijPIIt8mce50us9iomLMG6+2SLOZt0sUr3MMcHxtFGd1Ivdcb+kRhIJkndlV6xoy3fln1Ot9ZkBqxjmXhCvIOIXvmWMPuAxIFiCdYPl3MPql0YTpGa9BJC91EXiw9jFvKC9UGCLHTYYp0mldj0foMNf5VvO2uLJ8LjqduvO/kcQB2zlHPcQHOT51J6WJ2tx8A/MJxi1aFXeQK8OWMcgRAWWX75AZKoF9fzmQYJhSN6DZQF9jAgq2xvHjZgcpaBRqgrN1PeSQUGTx2w7ceGe29ugY9J1rlhwTB+ilVZ7gWbjj7ZSRXjyEHBp9v+9M6+DlkPxPNDvDOPtNUQQ4Lc0YMdrOEDnRQdAjOltKPgu/Ka58yLQTrzJ+seywGVwLUbYl3wVy9r1WtOJfH66bXi41jd5SX8gk+bNZ3ib8u9AVmtUwvAdPjDfpyF/4TmkVo6VNAbrhRkdaZNdT2MEEOC0r6Huas81+863ILr0C0pdGitc/+li1k+k3m5e7qgE1jqrVGm2iGGqDwqldLz4SablZo/WDuzsljsQlBeCRq1+oPWAKQFkBGyJlYws2n5F6gvcGhkTqDmJLruaAfTS9hz3phr1IaByobo6MzN5qjxFER8VRuRjTvnQII9aknUBSbTPB+4sA95Q8yiNNsaNq+tA6tw5kEgar901insFAKEaDH9K0eF+RJ+0XxhOzZN/OgimimZYeEPJEyDryiotVmMGjWol5CewWf12qqnhOkW9+lIzUhxW8o5vnZ95cldzlAo5oz8LN1l3KwbifQ4DsHgR2BNuVEwDI5drB6NyXYQt6mx2fOPRIVgh1nWzkOUxWGqwNOa1jRXGJmFDz4Knk/sIUGsA7vUeJqore2WMk8D65noDdvUdTzinkQsOfdBr4W0HOTQUSxMW4JJyTqZLSv9qbk5fkGkv0ipDzy5VogEuEi0uJF/3GEnC9v71dMG0ol/eLxKkdggkZgri1khcwYnhlDOTE07dJMv5i0cZSaLPLvSNHVKcfIEPLi31cS+5yKDGUlp6nHnflqgxH14mqm1XF/qe1F4DrwU4Oa0x+zTAAJIVmMYut/s9ihuLDQHjIlqe2vtJ2rGoVTL2LiTerQXMsYWJc0una9LS/cFNg+KfJykYmcm/mLoJXpw8x+C1hpHw0FZT8ZgHjvFLRViOjxa8KtWGaNAmg9Hoaw8eK9zMe4Av8m/Rkb0CWci+ErLBBTgmxE2BHJl6myx7KBkCGcxXMGFfHpLzKxaqjkyObTtYRzKiCPIlAzKxosZ67z6zUl2pMpZgl/XBLGhOtrstE+TsS8SO9HrG7APjBL4MI4Jlp1C8kWl0OkqxGzcedw4IvqbK2gmEZLTcePRTOT4/t+wARrvI2qMu1HqXEH9JoranPT5BYwSBSTLtATxWniNsJs6tSkGvoHii4YoSxnrN9nio0mmXcUE6nl4TmUW+1NboluYwMwa1/r5Z8YBaIP+DWaDTxBACAW5Yk7fSjBo6w9/hAQvbFhV6fF11n7uqGr8jGmU3GoiqDV60j1X22NfPqf+eN95aeDf3M9EPhZpBiR+FSMcERdSl69qXbzyv9Pwo8yEQoNocO7RlTwdEI1uMZqya8gY151kz5MYTD63PJgVzXBTSAn/TGYwBDwxCYeo7m6zJt9ktgOag1Jk7aRBXClAXhXaNQrC0gmsbITAkMvQO7Cs3SJTKO7H/HJWmyorRCzp6niqgPVNvKuQ44o4/bEWTgNxo+0jfawQCeteQ6kRac3KJPuhvvAxatPp8Yeey6REsLYnjRQg4fdG8WjVLao2YuCpT1gyNm4d6xUILOw185zuo2EjDioQHxs9He/s8eRB/5ZOUOSLAso8tTQomrY4XOCjjE167bf8FToLEmJf8l4QtDPT4DKkRhI3bc+Jj5zXffitEspreEmlX5w3WjuuF1AfLpb8D21YnwDABwxRuMBiLy41Rp8D4eDWWyiq4o96jRlV6rlu+alB11ELP4hnErlU1uUHuQV6RFHZpTlX0nGVAaajAakpWBT1j+hGAdgnex3FpeZOmvCpKkT6E5TPEOzIuqukyJlJFlmgRDyaX2RNoh65aaM7nCW7sfgb8yOzYLHDBVHeMC1/P0yquzVrsH+ic2TrIQzVOS/LxymUuyK9wjjSlXBBEYyH0FELP/3zQFv2o64n6kxP8XULk6c50RELZpcL0FPSjb7rZPCmCNyrU4EoTG82treworHDfLRuuFfoU6+O8ncI1xDHnXWg1WKH48+oAvhBtvp0rRn1DiJle8gPZxYLW6mDO47U/fnCoMQOqDPgsgOqPrijXHPjeBF1KewYkZ+vbIk1+27ODCmSaW/ZK2LDs+aTT8QC8+UknjuCmt0m5LgjKjEn8ZsfVLFY7ftSTFwBzp1eIXcWMb7ELRam9fuvxtga3ZKhwI24ysMEQsNqiolvoAw6yr3MnDoEJ1OUGlBQunixDYdQR8awVoojWDIwH47K9VcF0PMaOUCaV1mgcIH9EWL3I3WMX33JWJXJrOLbGX3b0WRNIWsNMrtvkXww4kQPab5FPVjS9uzY064YChtzNwZgPr3p6pyyyUVRG1iT3QsGOUW3YblrnXoZKdNo6QvR5SExSPCdMOD7E0xCDmLGuRRYoUS/iMLDjuX4ViVLo41ATjs2uhdhve7jZU1ld8AR7exX6YnZxh7jMro0JxJToah8Yz2RviEDycoMaZoUy2zb+js1N4sazuUn2gd75fVe+Pqjaa1Z3hj5XvfLsxmZELDF3ImZ6e4XZ2oKY4iV3/IcpSMmhFyQqocUVXCYTCmaeE+iSs4gzOO1OE4LSW3AxMKw1uXfAIY2JjPOvhRti9pqBQPu1HmxdDQEcXivwdsF/wSIeH318AJGpUiMDV/3/EzyshL8zSy675KyNzQRXU3JB9IjP6J4FQ0FW9x/WWjgwtaePaE21Bar95m/5Sq73VQnRvyN0hTJ3WZvLMm/5ABNiPTG09DiKaHyFK7es/grBC3z+uKNW7W47rmEK5TDllNF/sFzmrhezoBglk3GLx0EnPf3WjkVCZv8OdVHZaf1OyYAyv4LyREvIxR4SSimgW1Vxb++XgxpT5d2qll3NwSuqE/IRS3hpg59V5Wq4C2yRnaJ8zJ+m4Hb1w4zfLFs8xNNNflnaTsf7Lcx9p+SaEwjEwKfJY5UhZtDFzWzxCmEbAiZrp4ockR3nxM9H2Q7Qq9dG3kx06NSNSVsuqU2JVOBsoXttMppAVl0fH33QAUyDYP1lUEaohXCiKSruFRb2X1+QP6RZiHammI7BcOV/+pd6/k+Z35VHuASr9FKa97C0/5gzpOPkclmc07ZpOSSvCfk0/S2OkSwuSZlvTx985iR8OxHvu2mWfwyEskc7A4GC267wpf1SPcNrctyAhI7/8/lPOszEHBWnvjSwmyS+WpuuFWrujHFWcfe5LrngEFhRpUXe4hkTBbeFemvQ814OXD8RwB2qQ2BQ3Y+xCQzmg0vU6QLYGd08v+xADB/+R4QF9gjyjgThv8/Ny2Nhg0LKYsobcmF9XCbZL+vcUZEgg48cIzORUOBzGl2RqLp62L2YmnlK40BmeecYBMeTl8KAgZcmhua1hLtiDRc6rd1J3GLfzxsqkSMA8/AUNfMh8ukCIGkIL8WzERog7JHB3LMLnezGSFh97k1Pu3VvbvUP9Ri3jBSeeunWL/1NJZy97z918HfjQj2JuGR7XaIysPKkF780kY1zdd8PrOn5Kr7EvXI+7NwoECvkosCTtyhn7BO7kSeOLENkmZCE1KuZ8OLFDJKoIB8yCeNfl1rwiSE2ykiNrs4NUOpmPiFycpcAm1zHDB0BuH8M6M1Locr/9+uR4Zln+570769/QglSa1LjUS+4M+aVbnREkAisLh9pcW8xwjyIm8F6H3UlRZPIDNW2fApobtuHBMou2qj/fwJBKPKZ643ziE2L0s2Qr4FLbE8t1v6lnraQIEoYH7CNfcMfY3Xs3MgR5Ff+gRjdwo4tjeVoOPbpWz6Q87WutNh5nAX/ZRgHQUGkGzMjRsWECsD3x7UY6u+qBpvOIKhb1/5UFcMp5dqaRukgj0mgJ20DEWqBbFwswwvdb+JmbcDh3AF4kWyaNYfuXE19K19ddeg++kDM0pHA07uHv2o47vs225JYTqKUtI0OjbG/6rHFHlRard+EDe10Ym7+eoETTd7V2SfsQnsH4jzr6Gx8XZheueDYv35sKOr7ZyBfgAR/M7QY81t07XxoBNTl2G/nTjGFgWKaw7fupYNY5PA6MA/GnIYMHwB+jfZDdsKq/YDbPKEOuMXHvr74UkfsYVBHAShV/kxtI9ZSVazBnV61TxGK+AN3ofvGetJbYbgCOrZX+TlpQDQ2VVTlBwjj7lSSw/PXEiVNZm50gVhRLErqMfzdi6VYfuQA1rpL2249E1N3EHXo5MtOzzoEI5JYkNxz/S+VnXimncOQHuIu7ciNQnw55JHV4LHaedabnFexLlzQRjir2CWUSSng1EyVX7dQ5Wuenkjtj/tGiiWwh/PlkbvQoDBeM6PHnV3h6d2Z58cfx8GEIk5rVQsaHbAR1Vjhx0zzgElsj3HItTSJ2IPdEx4wQLTV+0oNhBtPcdbHyGaJZJ3gffJ3Ax5elvkPiaa9+5IcQTHqvt3vTZkg4nkgCvqxLjmZTnY0sV8irKTHh8Y5uMQC4oMCd5G5wPm7GFJdSf+3CYoCrRMpij1RqplZ0ErthSQkPYrdM+Ql9Kb43mF0mXQrHnOjFk5sKn98s8r0+Ez+eElGMVPDYbACS57xHekWgxK0r26GAyGB/1Vj603w/17PpFqJusjPn9uwSdD/2nWq4rzhya+XxhOVpQDEE6TA3DxD7qAbQINyp57ejNztomyaugdS9y+XyQ4kRlFZLkBUENL6NGiSv48YrkfQLVpOOZyUR/bP9cFtFxFRimQLdpMvYJ87SvMAYlPqdndk+PRsndAXWpHkPIPE99m/+HSQnhPognYsIekSdQqdC4TG//QpgTd7wFRekQc+dA/wTNnaLqaxDtkJKTFaFeZN8bGQ4KYlccWIHUxvgg7nCi8TYve6pPY39vSIng/bcl0NoX56OG2nBblPQsAQV0UxkWUipFI3Pea6K7dXhrgcQ3UM1l/VrFdWzhNnhDmU4Mgc2FlZVuXEyaPs6hG9byifNReu2Y0jg/cs90QVPt+nxhkPqvOE3ep0CxowuqUrGhe8ZENSnraSGIr6xfktF12z7buzoWl191+UcfsksAoJM+YJi4dbMnDn9NQt2Yg7uz9jTgcAjOlVktUG9KyyvIgWogDlGna0RzAQI7d8ZnW8+ZpLoOCQo/lgrWABqUHbTJ8ucape0xPrWbLBnqBjk9kk28G/+4FyRApHG44HZ+dL2mrdRqI0ToW2cHhURHJ9ijNAkjP1kkYyTMDW17u47/iZctcBsp8IAMhu59tOF4SlLcWppLifxPDsvZi4V11w3Y3NgNnPVHJcGXAU7E8vuTClSICZwbLVAeKI2SIabCaX4OqYS1yF4qFBlkW6CiszKnhMDhdKzoPWF+au1rp4757Z7uBjfhRI27ErZVnlNSQ7WosK0ZFB0wByxeqNmDOPp2nU9CSp1sNEeXsyBCbWYU8eQIEvCd7VFaeV5XvfHW4ueu3Locjrp0t/5e5sbCq1rW8o2Eb470l1p6NK0JZP+XZvyJoU5tIOjxWriggY23cwFYr1AuUMSh6Lsig8zjGh9WkBbLVT/9tVc8uajR2x7eGXVQoCA9jMyBxZuBInk+hxb7JAfXgb97+o6CuB1TCzs+BJfUrXuylazdoGZdTnBA+ifaNPOO5HHYtpI1/+VwFfAqJoEJI5X+cTjSFx2DfV8X7gctu+mFuyPK7fzzZsD9I0UUMBlD7SCT2gKzje2jawuno2oqoz8+l8lQc9KrqoIqWcWCZmuiGLr41WIMk7OgbVoHyQuSWfr3gCUFAojxd4Z9QOw9Sv3rIoMRnH3Q9jJEKxB9DwZckmZsvX1F6CXv/3a5t14rB4odriAqskR6PRz7hR0GQ7wbf/s2vpRp/NyUZ6qS9mtwYkKTniJkeh3hlGNvXkDTmXMVpW/ZoyH6heNIFcI9qOzn38Vn7MtgIG1GhrVE9vCQ5URUksfojtnMIs9uHqWENivC5pc4v1WXl8gvGbo7dAPNhuPK1CQACHHHgBYVSZrRUfouL1qyaGlHoYr9ohs3tr6mnyICuQ3Nv2ob7mXgDZ/TCmyJvnFfAxPysW9IqspW6mrrBGT0Z49IcR+lQXnMrpUGoPio3xrgwhF1/I2Bla/dOEyw28qkOQv5YqdWqOcWibIVLIZGjogR5OsuplqUYsawZOVKol4dU1KP9SQ9MpIYK7Kjzc4Q4moF/fRpPNtnFE3027OS00SFwKMWnuqkwt/QH7T9MmM1gQZz+mz8D4ETxUAcWNByoxAn+0o1DjXwv+JuHuUG9sADjML0cWavsiU3INAhacIyH1EZ/UeNnkheotCK5rKOKGWWxyGPaREz/ZuOtD6xnnJjQu59E7qc/tFNj/iP7zJCMLdVRM5q5tNJcuxml2yKAlBPOf07Y2RKbz9CoWbz4TrV9Qs+ZU5GMNtfPAgGo71KdBMA2Jz1kHpEwS1Ar/WQgkMHBRzOziPAbPrqp80HFHQLg9u3Hve2/Og16mCyuVKYpr3Soh0cVXWYstrhMLt/iUXQvAwvIUDz0FSMHnydxizIyxH13w4pZ0S1XO2xy85L+gBH/nMpKulN/fyprlL9glGdQpEuksriWhHJdRvrV4mE5WrLeE5EuThComY75cEgmlNWYsJoC3Zb8oOZKoWwQ+vnB7TzuA6oZVsfRwys4KFVGX+EkuFF9y/9vdKNfL+GFnqakAHGZlhqlcpfAnApG9C8+pupkq9elRDvNvyjodcvDX+qyizk138/olLapRp7soxebvhDDhudgD2Wt2L/oWxpCTVxrOUkPLUbOvZjLHfOC7X7kLA+CGco608Zk0SemyYh8aLClVS96+lomeaizJ4ooduZY0M4Kn+zcxRiP7fkX0s6e1Mg61agMNKOzvP3zdSxVfCE8Jk2egfClaNE6HNmeA3lf7B1IaSFxs9LZytrN9TH+EoTU9PgmYns02m1ipGe9nIUP0ioT0kTVxoelSH/vc62cQdSYUnNXTiiL6bP/X3O3hsGA0kCfxsBvDSB91YBNzUhHI4dzT3+jjXguQPYjwIa+EPQudtkB8Bg+rjvHhYIK9mIMrfEPnjLg6TB192BmlrILe8HYrCOX/xQh33c64HzuIZGcWsl/4mvtYG953L8xyL2ePzshjh3T41xIjLOdI8XP9RRFz/v1qntuVDyYs7Mz4hNsN9wG6XcLpMkeUpZBtw8+5rH+HhrTNpyZuKfa4omjSV9f3FUQR1tOhX0D/qfkTZYkjD8RBt9GG6uvA8eceI6409kBVbUO5Ck/I+/M+CvI5SCYaT1w0c//McANw/0jdYA5MkPeMoeWRHJR0EPVJZ8OJHUWMEr4splT12k5p5tzChJJ5+0zMJ0GvMhlkZ1VbNltoGyKId5dQq1oMMFnlWnnCa/SRCNrdfk51CzoxO3+uZ3agktlKqGJqwSIglIWKRRAYmKnEMF5vlv49fp9WvgWptp67OjtlHzKWjDHfPuz0FLkwFM3q5MQGwA3qkV/zhFldeLMQ+sLgaYwN0ia+mfeb+PPlVrQbgnSt7/gRwZfU9+S4OpHBNJKeB3wxEy5gh5u9UgwQXFX+BDpHxLikdZ7rEd+W7z3pmzv2caMpzMnlJDydrl4bLuU1eknswcDSVKK+puvbk5eMsHV9/QXyInayJTu/KVdHjIU3MkIuFFzU/AGrGoBWSSzunIvL13VrKL3BG0FD/zZ+4/+YAOu9FEC5qTmokdKmSvaD+Dn5tlAdGMFi9IeYSCHLCJvzyuWKFVQwiojQ26AjtuCbsSOoZPQUEGc+w//JD3dxwH1Rvj2NgTPuhOagXPS/c7qyTMOEQqaQvgDvXNwGTAqx2SP7sSZADfFzjHLXglo/iuH4w8GzF3Iy0Eep+YDjs6aXGGTY51zFlZxUzwhv5izsfGbKndpokd8qhPedxa8YVKh8A8tGcqSuP8voqAZpN9RcSPuFhKYgw5ijOTkiild7zUQchlqypEptF4PGMWYDtSKlsL1ZtfsKsDgA6Rfc4NNfZkVCh5MLNMGSsA9ACYeZG4iltLEPJUb2M+IEIvvscaFlrTnK5lpQvy+Hb1Ilg31/DKhz+uGlO2dTrmwD8abEbZirV5WItsVdDNTZNX8nM816D9x8tMpzLZk8DHEsqygRsjo/wIWX/L+Trmwh7RlvBHjmkCKLCZsejt2W8gfwj+27eJnAfKM9w/SwsL+5Mc0SZSBVGhe+xgd2xvSIOrG8CGUq88jqNXHYWfceC+wnKvfhS6hLJsuccKzDepuPOlnYnCU1tkAN/ILMjjMKQwYqLVm0QFRiMsChuK1Bx1VYXoFSV2H6Va726sUQzjTRtsE4qixxvThxc7GXTtPCA3R+uWokONJlMZApCKpNoecVYH8cXH4zJFX+gEYILWZyzH3FLV4Fxge4ekb7qtkTb/afE8hyyoXvCdOfj2IoZzVXGfSVSpMLSFYil6AmuY7Lrv0sdEyK6IC+jEz+qY1cVfj2bPUVPFNW4kapxJrTMXSS5OHTAAEEfNoKIlQjx1W+Jg9W3Yh+Nix1rerm0M9yew+XmIIMuUQRbQml/rOqkX4xEtrwZPTE2CN0q33Otqz7Ig3ZFyXV4jU8sxAkf+74tPMHPfia38N1pUkSxQB5gKvCjxfR7HpouWqshj+TblU+zbfQ+ZWtfjFA3LRKHnKSv2WmeWDEL78txtZy8jlQQvLxPrQGf3i2+4xI0VFWn140BsP56LMZWezwODA8j529wNM8Zt56oLlbOlJkSvkiqHAcGdyXRZ5ezQ7uaQHnGxGeXPX2C/ujjZTli/BcV7RPp+DmPfSGsFZOopmj4mCq8+MaAkTL+nrS3nJXNp+4aipatyYQzMPDBcL03awTDdmsCykd2Ft7PiCFMlhQyxGxkzamtACiefT7YfSKE/tNbtMKVq7lQ8+TvKaZCf6ruQCx6LFGrFATNEyVhQXfGJ4WhpqFuSePSmY+gpjO74F3fugOyHZ+1jI5tDP8dAJkaxF6QfsGntNty9teXaDWh1zWeT9GimLUyoCkqXXg1qodE0wYOK0YSt8wHLEsdhUeIXiiF0ibxBTx0hr+Yg9Bh9BawZtRmbQGo+5BYw8tbIoNDRTcE80uzZ7vcis0GFxAD8TsomQA1IpsUSx24nrkOklOlIKBK9YT4WCu8VYEoNW/RqC7jOZYRYXCgXEgIAkNL4UMSxXlPRMrA2AUZDVWkIardP/RxF5TUT9pAwNDTolC18iT62FHjoN2+hvFgwTSnjZRs20LX1nnJaGuCd9b4FDRA/f3FyOuo183GiCeaTu3ObhHbzDSS9hySJbvNse/NeH0YorLbcRkXedgdFJAcdNx/RB9CgZqs/7tBzIpTULjNLUuVceYgzNT86EfW5gpnhO9aRNl2cd7FmbG+/PRhbAFQq9Qtfj0Q3uvNb6A9sxXf4vthvUJx8YLbMaVqj4T0ch5jhXOrx4b66QRidEOLocM8aUMZPu8b+R9ZX/j4o7JQMsJ79gbJpxe118A2Ym7wUX5nVckz5k+FR0zdfcdbkkPZqZLWF+W1ORLkknxFMJise93hfTeGC4BfGi1VNsES8Ifo82rfI+33eNZY9VdEOBVdiZk7Ia8VduXb9W2LhLLI1APA5tJEPxY60yGGWnChH0DDXsofR06LhHucR9fZpW1rsQ2BVhkTyRunPfnyuc05ht4SV9Ic6T5LpZqzNRIKmLbnM2d1qi4s8HeDF46vR2sqh/qe4/IlL6Z33oVWnrlHInwVHPjUiFkd4O/2NEEQ/hr4AR2V9j8OQpEG9TXcJy5nNLfoc0aCEuPoGHCQ9iUYiHXTaPE4MfcCJkM7ooC3WdE1cNdqdSG838Zrd9U3jPolXq1Wl2q09NkIYIBDdYhPGFtSwxp4qTMyDo0t6RuuZEGdN9nciMdzvNDZqDnq2T/N6SruWhpzeJh3jUlXVrgciiavgD5Ut3em7E894Wf2CeVu2h5uPf4hOO5IAZm6ZrTm5k3elyxeNcLd20gvhUbmrR96DsXqwepLjAkHsVAGNLMtbVLlTY93MHuWv7JWioJe+GCkBVwudbzU46TbjUbyar3U/Nedmz0lWMOMRTyOLOL8qJ26piPoYtc5/GX3A3eAApGPBhZT/rbDm10kK8cemE3eZJPHA8TYM6sYzVjjFniZlNuWxsRPw8Nr0aMWr43KGDL/y9spO7Fxj5uC0/3UX33YfFuH0oOdckNB4bsuhmv2Z4hfGoCQD7QrvP/USFzYox+iyiu+Sh57Vqj1BPjucbgPXzj9SDssHjS4Csmey5RcAvh2ZgvOH6Ooq3PpWX8cPtWcVlcy2QKKyymQn3ilpALleEf0WEkt6lK2aUsMQGtez3dfZ/ifWAtJ5FK7JwzWz1pYH7nIJoCI0aUCYOcZwMuEKmAYWd9SIXY5faLK/vIXrtYItDgl3HJ+Bo03pODk3fCFAanQAkybJqI822VasZeKkS6IotZG54BMXYiSBLVq2OYvq29Cw5aSThkdFd0PLn/vS0DbM+v6RM57/6HLWj49k1isHhMzVCBnPdq+j3I4JWbSv2kX17Y+IjZAJ2u0/hAbqJBRydx0xF9yswwM/W+LXK11PlsknxGdWEXeDRDDhsGhfM1fUbx7BJ8TkItxZM1rwDZW4zSN5gnky0bomaFv/eWjjyp4Q8mD8EO4H54VPpJQq1xEpACmbp5oXPVocUrCDoqw6dm+xOWWNbDOE6ArGFARxldkSAXgGrWeQDL3lPKrchVkBOm7pXIc6xM3hN0D8TrbPVfYuKGhFV/GWccComabpV60s8hOjGiYzBGz6Omjl9a4H1Bm9wn10hY31pp9KjzGXN5tu2psiiLXo0XG6OGbkzl8ASgKv4Jcd5mqm2NgrpmqO1bPDmrMf6rZu8aP47+4R+cdcbpqAVQ18zfF6lfBND98+w1pRClIUOzixnzNyf5JWpQrtIzadiJEFgNzlmVKEXIDMUKl9IZY2Y0FFFR2mAra1zCm2Z2MA0oxaRMxFL9WozLfvRYgT+TZqZEBUFOkk0ei9dfhE5LH4ZSYRlIcnjRclPIjnVhQ/9RhV1IkgQXp+GQQjgnsiycDO1l0WSmuhOfaZ9XqeB2ig8SrbWBkmQWQzb73xjfgP2ravWvXzbp7/GOsEcyxLbrzvaiOzjz1toidMvAMBXASfT4acg67FLrbQwTObTajOfh5hHjHSLN8+8joJEA1Xdey4iLQilhvRn3DvUDG43wloYRTwKIlRCi6IkwkfChkY/zRkJI3ocURT3l+XvFsMBL2GrbPA223wPieRMTvpFpl/bdLM2ZTWPMdEvKUxnU1JCF0kTll47p8MnD6EbB9xxIu5lpQ+jIaZxgfTci6QldhzOS/2HJrf1dNZDrM7WfgNeuKoj3ouNUFdy6EcNcNWipWUg1xHvV8cQR//xQqZ434Gts3gRCV4so00dcoQLoqj1fFgK9dIAx4EGi5O8C4KSXPxFWcBuQwppcqd9AXirHXI4+0AnpjMy1QqGbvbSheBLRWBK9FSV3n+RcofG5nJ0aSL5qsBJL4tg7NvEunOWcFdc/vCls2Rufhw/9BJc9abxGD/Mi8tseljp+g2ZK84xs7mwlXRnweeqv4XUYC6YC1DdS8P7TFzdAAdVmy6Dom9ZLrtQkpB12xnX7kurjBimlTQbBgc9VaZPb/OuVMsBbTvSJtvyiIpCFQy4i/KijFBikj2LB02JBtpi3weFuTkLJYypRRpKo7ixiYI8ScS6J4r9tOt3YtV6HORCVXDatHKE89cfZKA8d2AgH7yM2Hja4Hr2q5W9S26GrVZonxSjpXyGTv6wmDzZMLVDpsWleBYDCOSfKVlPUFvVZ88/UeIJoH+ae2gBzvppu8mq+91ZCj1SCTFLA9ekOpEwch8RBzg8BII4/w7acmrQcygWQ55tbYd3ynC72nmVL1CeTYyY9K6nQd6y2PuJgOSew55qpNHa/dGulpEiX/j8LH9udscYyKxvED5/LyAKps06dXmhqofwJmcDSboq0AeGHWjCASskW46+cutYvhrYOPedKPrTgtHwgnTGLKOlB1bFDxhof+fVROskzcOSAAXIGkv8Kp4QqlMphZhuuxn6BAuY+otDvf680SzSBuoR6CoARQkCY2WqlyG2Lbrtbz1DsMYKxldDRYKcyhGbnbAOeLMf4YXLkkvxbkVUt24Ad017j7M3XBMct+UF/6gbwk1cjKb3cL96E0n0pQgnDtZrPIHCHOIbup+KlxmNssJYFa1nKOmy+4Cz3W2KjFltVv6Nxx/l1mOeX+YvZbDKvalXK/NQVUNWjYBdv+To1kb4Oska7+EWlg7GNxi2pt6oz+vhj3Ma2ypfwr7dLb6GZVBInUKNYyNtJsHMK7u4eDTnFnT9KFOdVqAvef+XYp//gwPLm7MsxMTpAON4WRO2W+b71AQxIk3Yx1jfaV+G9WXyDeL4CXHef4+Sm8b/aFeYaobyRVbE07q1fif968h48s7zr2xVya6X73rpsObBUx8Am4AM6/q4Zso5zmls5CMLp4my5/0L5gYegITjhcOZ38KszvJUquxWsi+OOUebV0gqoKx532lpqf5Rwa9joVxylrNA9e83uacUwLu8sZjnoUjSzZeO2XRpxZdINz2JkEIO/JjX1DEPrC5pLs/Uz3WkUxIycDEv8tEb+diWduC5tCJvoFBOaLsut/GyBEe+E5+H3HxFoNfhmP3oyJkeXilnMv42RcNKYRlWGHbXKZK6Y0lAchpbOO41c7mZVhujFoU8joMptsYmPCi/I6ykVZPIokGyGRMwnQosExlZsl97DNPAcJM2PObmFT/JKqvDP+uVR+iR9jTwLzmXDa47wr8XXDq+OnQ10a+Q1vvjiB1ENbm14NlKpXyw26GEYyMLJWRBMTOsmtCEIs5LgZbo7dbS28/+MOh86QRff7HsctXQCzVvkTJuZjQVlRTXtBIzX6zVJbdKefHT93L4EBeT9hFlTVfPYUOLR432qvAVLc4aHAwDMFxuu71t8xsbsXwQoXw4tfsf+yc/LjP/++YtPFEuzK+3iqQX2433OifcTfIdLggmxCbOFZt64WaXshGSKd6GqX7NsMztmrXEJTFoYofzktJRtdtrR7w+D6zzgVRBCli+YinbrAhqDNhMnv/Mk1oq28roNZ6eru9/NapnzTHVNPpt1fT40g3LhxTi/VDfznyx/GZLG01gsz3lHviQyTXpKBVMZfuZF/tVC3CTkrd3HnhCb9BanB2RSAJaH8p37jNNRwEUygMVEjAAvyFvKZ1ggmoSYleGll4oowU72YxkTeDVTCxiSk9YLRZDaE51KBDz6JiLfq/XL4LUhMf2GyUCKtGxxCjYSOOubeCNEHi95op1jvFueETL/H7zA478C8Ax5JnKmnOC6mip1HoMNE+sY44Znz818x6DSNX3OxOfBl6Tst/SiC3hqOsnDn5Ndb7GMNZEob3UTwjyWUhCKeUGmsY90eKsept2H+uVRwwuHgoJ2sap20dSkc17wgPmw6FuA42Y3CJXpIPxJa2agpo8+WQYLHkST0XZoWRlkZVW14wx+0s56jZ6bV/GDTvctw2oyRJchtYJ1I6halKYi7Z/EgMuHYhOjnY9UYUKVE8ubUkJ7le4xBf5nMN2BHqfRfEP7W7rTHkcPH1D2LHh0yDWd7PI2fsmrBdEbTZIRHXvWIVs5HQP/uxYI5eFrhQG8bOPhjIwxpz06UP9HEJRN1VPjTqi6L84O7BpCj4BWWzLCklIH5d0goACpV+3l2yAhSdT8Ys3xYlVnPnzV5WE0oBmDV5I73ZWjUnEwHumxB0VQoU4im2/k2iljdlZAzMscBjgntDrjWTn+weBe2PMnC8qomqH5BNHuXaOeBt7JomSXTJ7SgL75FgMMmNiys1pTkfCBko8JOvB1lZTOk0cUHYpH/TUfxew9ryUEU9A6K1WFZP0uVL3ZD6CbY9jdcgv4SR4zb3e1nnIux2L5gSgp/vxJtoMwKHGKs1shqZg34CcYnqviY35+E32kW3ngBs8P4f+SQVd8SJQBqKYidMcKyAaGg7HnGmq/V2vGC3pEGjMntl2WwpBj/CWRXFlZmQRNx5ixKemH2/pgssAQadaXfH4lDHh90tPL6ub7/oxCKd7ZGkgWZafd6pRD8IJ5uUUij2AsvBqQrDpbgvaof3EXEqCVuOMQqOPw2VmJmwiBztv58pdzPCzXcPrjtbtu+WLP97RSf6hPfTjawr+Cc1TyZ/H5hnmiB705FHUU9UzXE+HsYmcwoX4PUSx3sH/7+iA8fgJUYV3BgMX5NG/2aVXcMt6FpM/BFKXlgyea3lx0lfCjIiA1ZuXVAoCQQaG4bFPdCbqzPd4qVvIT6sz9OKCy6UQkKiKBPjwLv8VP3diTYP56X2j40ZCwUkBM24/Q9zjqVXee3aoeiIyLM/qcX4w1Gx986a26WGHQn6n4MjRRqz8qbSOz3C1Vp8IhMcPB7o06nov1Y49xc7qwSEYZTVMVH10/hksg9knBlhxO/mfmv/4DJQLOB7XvSGrSBFRAnHbBs8pZtgdQRslipPFbFnVmxd7yrV170pQPFpupTgdSR2wYwf3dfx6E3g4/9bfia4CFCouQONTFimHt/Uof2gYJy/scsKhEgOGt46qctEOZ2TPhR1ljmsDBDzVsiHjd4RJKL7XJzmyMl5VlFqTDQcmb34IZ33ZE0SxJrHO2rPP8h8hy3TZvyzC0gKqJOubL9n/TNEsDDsZ0XGow0qguadj6S7N4SzTvmZon5XOtJfp30zZJYuIGYx4lNeoVB/2BPPbTYCFmSTXqLkw8Nke/WuSBKgm5265C6vpM57uwrjEq1VdbObLfk24Ph8UAeAfDPWE+5mHYk64Js5HYRFDqdOHOHUZXOUuEAWcxLJ9NSIhS94RWjr3zpNGu2/OzpLQ5g/wKBReXRPrq1eWHXOKGl2s9rbnWBqNSmlV7679rDklU6d8UjMK5U73xjUVPsk0BRrQ/q74nMtrU2QKEsZcvv5DRxchAwfBlCfRilDuXb1LM4rdwE1ViQ117wG2V4LNhj5tfHlUmiKFB23D+Mfar17owCknICW5zM2WgqAGaF44ptE0Bm8frlTOScEL/KkFIR3TZHz7yQ9C+0VmdGh7caOQY0O3QBqNTg8hl2FlvtccUUze1zH0eeEthy+Blt2ioiOocpsPdqqqyvmm8Mhc4AYhKYONVZLGcVe5YdWZNrgxYxUT5etoPw1o4hHe0+32HM8FBDj5JVNFtyssDjmsSH8AsR3GT91UUDzuRnub6R4hPrYaSY5y0MKQ6YpF+AHe4mhyjYqauPXapiyJQiTcu9CedSHwu9KcC/Lo+lqjJDEN9j1KpHxdGLH+r1qARsRKfaSVbYBgg+dbbbqRv7DvQ3oUKHLzKZcev0gc9TFHxJ/f5NhqMkTBSTJbdsPN+xDwNnefl0qTUXPLkr+n7A0uUCmZL8Q718tRprJdxP8HOvBVk1XfBNoluo1EVJMQ93sWDcnW8td4opnMEl9oHAYBSBpQXcMCg1qnw/G8V6kjBAYAxLcp/iyJpuFbuv1ZHJl1+7bkog+MY4j56AfnXc/nnpghYWpvUfsC7TCkxMpMCZoLHxMpvRNFYCtoOmsVX5n9wbjLdKwJL7ZuLsg5dOwtpXSt8WtDFRjj3VVFbaZHy32P6BoeCC6xW6DZt375Eh+gDnfL+gVI7CLNkeAzATP8lcaO2WBIenUapzM1lMK+lwAOg242fb8FxsRKhN5Wd72ij7XWL2k9AkM9aiMgRTozwmy3ZI0AfIWKSgWiGBCO67gvKcj/Vdrjy7MrL3StSwNJT86sb1wXc2P35mWJH/Ket1QQ5nZ+a55P8htcBJaS9UKTBK1807mfLORChAzPXvZQckV8MnnThBIvTs54yFi8zkdWnwVQ4qXAEQ74v6ncN2KCVm2Gzl7ORyrRNoBqG5D0g0bCsaRf4Pj/VKCz2IUa9AGad6BMaayv8bEfsFVmz+XrVLiWWj7EnYluGXM1S+8uMqEr3fnnfesdkzhtBdi/exT7TdgpKUVLC/7XMIIBk+NmC8IlMBKyg2eza9jHCdP6VzJVf0bIGxNMJar6tybh/SX96tfYtqu5QQUoWCVOBM+WlNTIjVINTjNP6gz/gCyEsfd6Mkz+iYZZfuKuXiz7cnoIK6j/hzDZLzAlrIWgFegR/3jzxKZu1YUK1fGKZbnmcn4H/1yR480E1P5TaN/HmyqvfYivqOEkMCV9DUfDTk+z7vyNwIbUrrctP9k20cc/QeYy23lELpBl6ahLLqhNL9/q/eVvpuWCh/i0RaKM1yB2NmaXSTwTUUnDIndq373BgDCNAk7aVYi68ttHTe7l3snzhJCeHvbB7VhgDPI2Cl/crb1twSjU4jvlmBtn4uRVbeRwvNCp5Ei2z95Hqeiu1bFE1uAA0qQG4hJcJnCgYX+Ez9JH/S2eZmwRFO7X9iOvQA9EA/3gskl3JYlz/ewuuTsyCjFjXYr5Mpt+SVeP+QTft71bKs/HkmuOvR4bclZAJdniiSXoGPqCcko85SY6ICw6dd8JCZUXCoowBug5ZZ1LUmCWQMRNsFdNCuDs/YEziC1ExlDZXOfKTPPpklTtdSTGwRiAXXXKuI2Homg9A9Su2OOj+bFmWlBSTrhjmSBfn9wzZ3eeEQmwPxDfTTzn8GUceN7FEzAOslHqDsDpdHU9LG0Y9xK8AiQhfQ2Q8S5vpQPoLfKbv6uUmopRp/KJjkV3WCSE+Z7lu1hNRp/Iyl/4rGAQBzVAk8Du5zUDV8M3GETNRijXuc75mfr42BpeZ7IVofuQecmfuJ/ml9Ecaguyhp+itAkPZ+Nf+Ix1PcdviufuViddbjatMBuqKX2gd/qP7If2m++jNL9w2xkoxNp/qRNc/NLYmDSI+vLtIjCjKmvXvC+QI1TuT6fXaeRQ4cm8moAVZNFn2hdEfjtWQ+1QOTOkRMFxOhCR/4Kky1W6gfqYndRQuES7mZ5WU550oFQTPrAS1pvdSkku5kuMYOPWgdYIFip85c6UgStwFL6rZLwNngDg4ILB/8d87ipUOvDQQFUtjyRpCodM89/Ueh0OBZJ9Hy/Yp7PiPMcJhST2Ky7jVA45bAT1MIKHCfbVOpChuxRSqXT6sxSyXqIhYaJb/TJfy/7a6aT5HyeA3OCoSs76VMBCakuHqwl+iFcaVczVsvQzwhA0leuIsAee8MFNG4hWdpe/K7JxlD1IynwCfqBsydBWaQ2OvF1xSA7EcTs+S3SD2DGbf21R/NyYp/qMlemO6xTxM11XzKx3mlDFii5bA5jBq4Yk5/TCPbnK4sl1iaqno9zgmLe9jjBWHrBO7Yelm5XlxNr60P1YA478tAd5kNWOOrLf1Tn37qATmF1ibceVPCFM2cZ+vAbjOK1S/jPI7mnaYMk2IMkqwHDR9vo0SNPDZXGmJU2giEF5C2oGeL5fVaumvktSivOFD1KuUo/e18uNzAVLDIkntj7bZ/V0iNXQqV04wpETjiv6LF9HfKbFIUO4NonTKZSOp6IoG8kICDMtuSzLoFs6kd3UFN0jQd6lJCQ+9e0Ida5Z55zvpnifI2vyzm15NWjrgYZqRt/oZPH4I6n6BJe9h4KmSgmjSdZh0s+4/xJWf4bOOtCf5t/nqNZeD07dDFGcI14wfm33VVrSRSzYei/T7RqoMfWVkAGeBf8IcoCFyGOl73adlN/fBsRIXJca9Dt0jSkaW5sS107hMZJrG9xiyXv70I8TKUfxpauiUNKMgIAQBQVoC0cGyr2Zt7E5W8y1xph4092gD7/BcDcOkUZnWL3q/7zELCL9rwz9NxtzVZqVxi2PcqaGS8IhPot1J0C1pJ7wOLSXxCpKYBtMWYfVvuYxDyb3Ya/rWcs6maG8gu2aS17XUV3WD2fLMIUhPJZCFqmwEmnhejHg3BWTig/n6lY8ayQ7X6Rlje53LIYz53zh0ze1ROGkXruTM2mw0HcPyBGDv/2orTenTbJn/m15RO9bZ87OcEHzCMMTM/UZppUlsHtxAy52CYQTpB4ld1Vvu5j7CIamFEf0sbfBExa4hQHSm44EMNlFXhwyYNT7ULC3otitPrFP5ngRRzyGifSXiqM9aMjhOT18bRt5QowB8MjnIqQfNN3/OT/WKuSahn2XSSZ5DAG7zUFKlqTfQgnvAbVRup80u9k9UFgo3dJtZlXTVKliSzIvbDQSd7SjFByAhrNmg3jr9ThUBapeLBHaFiyL8B+/Dfa6jY8HlOKXrvEdrdUXPDt6X8E3w1b4z2dCbOOnDlDbWhPMcjEooRrX2zs3G+rsCqz9wZSxPCHzVc1+vkFx8gRvqcDUjLgGYanRYFdrbhrK20DF5p4dfvQQE9y/tY7wKsCU1IrSZWQf0Gdv38z+zlWMRkpPnMT4kFMU86wGiimJ5URx8s8F2kDy8oWvbc+juXejtdmW1HmseUf2g2ZMfFRmRtkjoD+GigvSzvBtmd9qU/TP//C4l/h9IJMp+h0xYbZy7NdzFWCGqKgGJLlTPmT9+JI6HQdVqMIpmcf66uy8reL0u6l8otCUSSVAKbyKnN9BHE3EFxTpOoGOo2mQ3rYcDeAmFX/frlgZ1QLOwSsPLLn8X35hSRuVeTtas92SrWfmdfKwFhIriGRVUuVE2DqDLVKK/Nm+jmuEacbwxNKXq0lJ9TmKQYvakV5rGNsCi4kBHKEGWMnyWich8d8c2CmU42aes7htCjMl9MsXWVY2RsYTBbHvDp9Lo+aj5CS/b0zs/UF+nRx93f4eOyaHaa7bqp3f/A4TgU7oEM4WRlGJ9OhRKTMlls4AGw3SDXySXGyd4YSd0Kd0O27XjlJBiOiOsP0qCkaSG1TV9tJb+LQVH7ji71GWHuA2Sl/rApDzyLR2ijOBuRImZzYGsEhon9AKmTGOa0unZdKmp/NX88xhY+Rgf4Nxd7wCUDcZbSaNosRO+GyXpqpFpJOlqNbiqG+OBJPI2YSePA36G4hnN4VjPxWbjAHMQxhyYfMCFRKMhPuIc73GSyJ/SWG9ju/I5nVQNJ+6tVYPb/JJy/Lan0iYy9TKVcSWC8hGB3HEOBIFu9RN0SbY3ZkF1/bBI82YDDg76lacpZdN9AE9YRY+AdtS/RbcdOLbX6bj8U/8pjPy4gn0r6qL0WPlSzv3pKanc/4W03e7SAHSaDvqXNKZHyXY3otVj69gJtFAM0tutfa+PmJA+HG0FTpIqF/v6MABZVty6rewHXGpfYLaoJMO6Cjpcj7q+CV1Pnn620e3KyD91uA4bTTAOQgwFZkRbxjI3YrOHGddmcKUTPcmvESLk+FEKqa1LCarsaRpkS51zRDKkfJc7Oz1Epx0JZlV+i6OBoG1cUymTN48UP5JhfngKUzei2xkruvoJv7FY963F1xrv1kGT87O6+fbYG+I7H0ERt/K8fMQRA6l+k51ueSZ8Ns4ag7gtkG/R1WTAzpUQ/9WBC4gsfuAbmChzvOsuQsy6eCuqOiv1m4aWoZGflGcMbOrmRhDAorZjXngsE0QR8HsPNe6F5/D86ST9BkzmVaPoa24rkoooTOC4j7DDp+kAtUwM/077dGBISwJIZqXZ5U6toiVEZc76Nx7DR5dGvSwNvVAgEpb0Yx624t3UXJDkgXT+1jpHncZwzkM3gUovTj/y5Jv8fpsQEG4/JI31HQB9HX8zrox1u9neYhTZwhb9ku1Cl/pfvofD02Q2mJREiyxri8Dll9SiofU5QwU/O1wFkZjYxeH932ZMXgef4wdbH0EB1RJ4GKZjvYp/65hmnJlXwRw/7Otc3nQy3iPFw4hyc6AptsXnye9SZ0fFJDzZ0gE7M3pXcuzpah/nSKZdCWRq2zJua45cwKTOIGjPaaI0hZzdG24TEx4DBDpUxTdSbDaq0T8ji9JfO9FsS2F5ffyI1okm6jlSWeF/zNOsGiSxrma1/GDQnsnL5qJIM/XxPfYCD16zBrq3Lerq9OFjx5m6xUNajrNOceWvSRrTVbLFDyPDTrJIOp3K+dOPYFMpqYLGtmAlsd+ZlAuFIS6HqjGXcSBcGjlvVcKkdtvpicHZrrzHgoOujG6TR2aFgx6BfL/t8geMveTI7Cfuo6ZYRk/ASNXwNUxNBIyaTabxZbjbq891UBh8wSn+MFl1Fe7fUHHRhQxLAf734lLhixzRbekkG1Nh+DFqP9y9SNxE6CBOoXWrTkrw+aSLS7DsEtCuMt+9uv4lkTMateKrl1++OfwfZXV1FbRHosvqI39s0EeZ59XgYPjV/7PDzex+HJF73uZCtjSWV96eDQbGE8tMqeOJTjnTjYDOIwCg8/7KQthTavuUwEy6FfL6UNvjjdVdPEqbHOsHDLXEp7DBrtprfAS92PlGBvFiPDCqm1I3R2Fzjx5ewFO7qar4LVMc1ZS2Rjf+CuN0u1UYIAc2fFAy/C8uV5SnKMjlseJ8IuPnpYxu0jVtQEFjBCdtKj7BZoZuVdvHnyM12nFwZVLd11UzPBM6bzB9gSsmwnVGhW5CzCiSSupX6anTJknUMrpyaxE4bYj52vgLhDOC84vBAHKWtqy8ytrqknfiorGibCppMU2RqcKwZbrCXCOPi1ox1NTTIZE0nWKDHwC4UfpFfNYBsKPxT8VnNzwvxTJZi2/mbv2Kg0Ilp34lUvB73DJXNk33BzWSB2wE8CVnz1Vnl+Cdtm8J5XXvovWrzbpbtu37SneMHoEQB7qQePbjEJ8R5mAVdBX8Qd2SLtjP+Nc9Pn5A1CnjEODoEiHs/B/lCWXebJ66yl+6zG7fyaqDE8BpiDrBt34a+LnZR1FXRRhqznlPAMkjZa62acGoNvprAYA9QAShrVEI+OG21/3MGSTJrDTOtbJkM4P7PUZJijVBGDxPAdMUAaLUKKgV6N8+5gD0AaVJIxYJMh+exFsyW+NcKHNhr8jPHUUCBlMJYYZQZJ60w8iKizc7C2VebF44/54rPHAQ8oMqWSM/Hso7KDyQ2KscesouJtN0BhAL4ey5cjHP69Wym4rywyW9XRbtJat5YE8T6y5K3lpkee/biljrEc8FAhV7k1V/8l5zRg82V7n4DW9wQ139SfQjRKKJ3tBWSIkTqga+Bjg4gnv0aNmJEFFhvat9yTUqCvlEwqr/Vp6+P8jt4FENbeOySJij6fpcukbxwz5hbhRsyHz592Ya8c/0mFwHEOueQd6qGZ53zb5lSqCa99prmAMzp8YQlOc9Rjl4vsgVVny9ix4y0a3B0sUo6DcEkXqepuGHmxYVMBqBI53dWU8jBSyIM4GaE3LhDdrtmkzqQjabeF3VWG8ekKVkma42oSpwyi/jIqzJPtIUTT/VHqvwqnOuSt7mIU4B8/0c2lx48NUh6cOBAEXa715UMHCvlG7F53uKjj8nXy66oV/AmBaIlg5wm2xswR4roImnSedlWHrmprD7EuA6gngGvvzSqmylAQGD/eHJu37dBMVjinrz4ykxn/Pc6Z6sy/5/E7eTM7X0/GsP0YF7ibrMZSGNseqRzWVEIuntMw56s8eUIPIZcHKh9FhU/QifqyDkmHt+7c69h1Zt1GjmUyjoQ8FshxBEa88SbSyaIN7VNZU6RP90OWIq0GEmJtdhv8gEnzfDnR6ViipIOfl4jDQ1hDAP9n2ilRYJsL0NYFVc8dj9LiBXP6h1HJqzW9x3mk7n1bjmiRrkyhQgfu45+T5vtJsgZVRnIYciFrONKa2F7afNeZLHiHPf6xdxkhYPoGRFRxRTDtYYhZ0EuGZ2fp7uvuXkjlhxOh2RB3CmPUwCMLIbqEF/BaPoRaeXNPWx9UkbCvXHjZLVD3oSVNx/h5xdmafM2K6VzUHpKch0lL+wDK+qZAQ4QshuWSdoZ4Uv37Z4q81IP4wxq1/grAehWKB3aIAtunhiK/rGo3f+d7dqvXP8WISP+9gvPzkps3X23ubGQKouDzaJNUZDebGBW3amLPkbpDx45VACXP5cQHnSmeqQiW6xE725Asn1nXHaQyctoLKDXxvwZ4hJXyVDOsiZjA3J6nKHe4I6olVaAIU6GEOp2g+aAyhPl2H5uTGu1Us4QyOHdPHjCpnoOJY3l8IsBF1BAwCY4ArEJoDQyicnPPzJzR6TlnD8Px6q8htaNZhluzcUa5qW3cdrDCwjW4fABBWpofWlnNQmG0CxugGlms8LHSmoVeF0F4rKw4p3fjwH2GNKYx9nYvPxSjRZ6zQFUYczIbDicNpAyu2yOF5bOLa89KKciKY9uAKO/MqQXLfoowrjqxvcpcghp+gzSlL+qkZHR0Br70yrW0wNJuiNcOVzLSWNtQzLE+s8rvDZtWm5YkyBFYB8crVot4gPNZUz+PmtW+l9Rrjv6F2z2B4f62Ddh/hNodW+3Si+lXnJOTAKlfcvG9PixVVAAIRbciVNjQp4yLbQR4TQ3RvWrqkxppZrPq5rTObRH3Mb6WVpRghxh5Zk6gXfWSy6nzyI9WRt4qzP5asgvI9SEDo0ea9pkymbhnhBdAECLJPzJVnzLbgSb4SsfV5dFzwcuVoJ6ofw8RnI1n7cinMeLj1Rq0SOriKvDYJTAi7UO+flR0kVLw5NQUkTTfnaZolwvsnhtvd5z6nf22kOUqKFTuY+8Es6fyntRBfBFrHayAsAQp8jYuYNSpRFvryUtPHFw+3+tl7pgLamjQt/9v3hbKBGqDXzmImR+rAeXhRbb0y+FZqkoF4ARMkACZa47nNIeB9fSvx7Prd7YiQNz+nu0e9SvIsWRVTN5NgGQqfVnopkXZdgexTYXdHa+J9QlC1kUVJ3fkqzgWRVh7vQ02Yr762TbQansfC6h5VpwnjErT6QUhWPrcdkYVzxVRJWuuip1S1uyQCyHg+dGMZnYAPjgKjldKe4EWzQzdyj0OMZPzI0RdG8xN1vTnHXu2z2LVI9ZWmSPgWEtXcs5uJ1fUfCJ5yS0uaNqWnDXUvSQhiNMmxY7FO/dfWZlNZvC6xDAncRN3q3NzTa91plJJpyQh8Ux1ThQpVJMM4PNuTdJNJTVTvJ5+UUJVpU1ft72YOYfNzJqdSSL8M4lBmFS+xC+lXrDqC3xm92oEJq6lS788mGK7wrUOr6enPipD2cUA9mmOhi4ph/F7kNGdRnn4+3b3pHnrb10NJwmHIJr+m3en1W6xbWHBVOCkk9o30drzEo1E4NBMvjpvvJpwmZz9hHgqg81nNdkDz2v2BToGxoFYw012NQVyxa5g6fDGju5B+kGCa9KPjiOClKV5bY5Tp1s1ZStjYnyl8w0QlU4Gd4AUYDZfgQT1FB350y8Xt7yLjtV+pXyM+BYrDmUJKQmwcc3VVsXKEVm9QNvU1LNRRt2v6UozOqgQFlGi4Tz++iB2HX1LVU0Ar50b6leMIaLYROEwpdC30t2xcy11wRd0LvUej2WHz1fHf3wZg6TxL6EL/wnGBf9SONhB+Yfi8+1T7ioaeoQtpQZHEujpqP6o4k4M+E0TqMcLQpMxPNwxuEPqFPAxT4Uin7lvJ2YVpzX9XzyN9dlHIeqBHqmQXX1Dpb+udL5roFgULHSE0+6Im4lAq+0uTBpY8moqsCqhEXT3287a1hMxW+4+IhULEiaEToPhz7FKZnBIRlM6W61MpHmYMgvPdDapc8z0ZpV+pSLhrmiAzt+rTZVM/VIFsN8AIKBviyQuXoTuT9p5X4RJ9dhqvLMf/0gLlfqK+c3HNiS/dt5J6wwusQzDFhWh+FyjbiYTALzam7dowHRkxPDqanJZGW1w1b9LQCYh9ThFcAJ+tI/hsAiqaoFxZWTuu+urYaPJGKhnGlwvOpB14nFxR+Zl8pfRpWRlqoNOCcxBh1J3XQzqsY9bYFQP737egDR/bA7YrnII4i9DKuZpNfqNCypW0jjh4sXrizMXwM0KqrAa18I7huglD4FMxY0MorphK35IKQGV5G0k5QRaWnHTCGBHfG2DTwaX1hgdyuQAhiPyY6DL/W1/XUyWrfIq/lFJ6eROvqW02xaNkzc4XVaTKdSG49f+5MtmWFuHWdNHnl4b7F4iXNawwUX2EUAj2jNR1QohV8hkGyUASRzDjd/g7F9yY/ab5lOymJZrsg6u420/yTldj186Ih21eRT5ggakjSEi6P7bk/Lh4kcUfTjxVocYTsWjgEfntwIj8CarOL7C9MntZ8vnK8dDjfqTDq6AZ0x40I0DvbTiCFWo6ab0uDWP/8M8enSGExxD26piaEyAioOZpexpRxXE/A8O1PRoDyyQCxUyYpj3shRLBS2smeg1XZf03xmA3RNSJUPvxOL3Gsegv3x9IRIDYNhzn90tzy4U23TFpQeg00sTzV+zOGLGju+AkcO/PY9s8xWqiTi21BohevoNkYoOMqdpKZcTRIAk8gAx+Q+48abkWbwO0gcZw0TDbPfUrGoyWj7XvPkldaNMCGH57PcR47+o2sRs1TyYF1mR68+MGnl0QP9s8RI5Nu0/K0+KzylBZugPW5NEdHQPKLYda9Q700wtrzTA9vgk8864fZ6IGcbjLvndKbvldvYpsdq76LLWmIX7z4FNlgBy9Xk/2PCbIy09Z2EXFhVioaEjFSFMPBwgOfzTJZORz6+Fqi7YmJ9sOdThES3g+GSmr65wBX9b3pjbpYUzagcTawu18dZf+nK1Dd14GrkhLAp/cMzRCtTtSgFdeAnGLDnGU3Bu3RZurVqhQLLQBsX/6deWHpRAX7FO6IWpt5g0mhHnyvsa4wmw5JxJQpoxRe+ajXl5VcBT9jrDbqfeMY8dWv6/2+tzc0aBchKueOylhza+qiyG2qq5LKVGOs0AbqKuHYUJU9WkcJ/GSTu3SyY/iL59NLMysGdIT9IIAsvsrg1tZ+k5PgL/V8gGGyCHWgMY40t/ooBUFEcrrsGBTM7LLCdOyHHdng/r1B9m59OPho7WGyOwTXjlsk/jLAS+SyjLD1zVchoV/d68bROMv6NPKJWsizamchwJL2Im8KQm4zELblteKdX+ARwDDWBBZ109YfoNc7xDOBJrVzA57utL9JwnHhwe5spO1wep327oD1u9yyEzwuLiUh811dxoH66XKuQmH+EIUsg2M2QlvS6GW2Knm6iqtonjhOAeDLvpHw07Ot3YpbzenUqgQl5lpqRKjqi+eMB1nvhlPlLpApXB3lkyVdbu9c9XBS8jQzmY/Am/K05IyST15w2oybAuH6qCxfHS0TuZ/4qcYdG1Ot4mgJTyOVrRdJOuvLhFL2Xyf/g5EwdpE1de8o/JDoZDLtaSZFl4exCp0ioebpiKDJjMrCCyIW67ndUEVGwQado/OmhSYtMM5Q5TE04blzkIqZoMGnCFNDAJDy7YciVX9mOdrAaftCRMpNfEPVEBjJH+PN1QhNa6Q3SS97h6licjCg13H/yuoBjnPOknz8s/pE5UxFk4cbRsD9fVxFqffudf/lJWndlkAO+L1irdH4YUKvqpXPJeVamJufExFZjT1lfqc+QHWSiqiKZUv1sU6UHWpX/DZG724VOB290AIBq38uZZpRzrECUj9VJT97bfJj+E1i+uyqYhy6j+IgunGeU2cDL9ZuERk/MoMvLPADbv6DzgcXDz+m536jRrkaGkqO12NNhcbjeXLvC7yFghNXdEPvS51pnWjqC/DPgiZg2IWWyuGZzP1Q9K0DkP8WEsLOuHjm8TEc4eG0HS6k5qFCJNbo9zsGy73ybydGAsXM11K/C2au+vlzEZcW7uJRH7zCZkZ1CkNukfM6OquWG+vBzyv7mVg0VnZXzkMw9FnqFsIsMSx4RidTpiIsGfKqjtqajsZSaqkLlHw8cCxWEPe2FyhQC6Dq5rnfJzG0fNGbM/gMjKBJQd5SYOqQhLtp4EjqBSoZO433wrrY2CMkkCw16/pb6t3H5hFILHAj68p5PZyfcF2TcHwLM/kemNZ090kr3S30OPK+aDdywf7La9a9BhiM9fZbMqaT5rfSWeP+jc1SEnoYFbtks6SvwHQ03eo2lvdOAVhDvkaqB+nQQtWFCTtV1rBHzi+7gsiok6tvhYMYHsy23extqFNXADmlNpk46qZtIzBpUsMSZi6RN/pHA8Ei1HzE+nvx7hnYOr7a3zSx6IVK23NRhRF4e9HldHhMSIPafHVD4xpzvPlb2D5nS8g0Ngmjaw2Wsy4kyjNximBiz5/NseeUnvR5eUaAcSCGl2pYdrcnfTotQAsCKAGsZT7YTAV1lFlEX9AfjBXjI+rmXIRUKaTicOVVSCcPB7UTjNAcglHzLwVu5AsvhYtP66JNK+kYZbcCp2M8SH2l9fLUY+bZxltXlK6v8qkrE1aOYLu9JPrav/xXGmTdS8tu5gaRFreggD8blLJVGv4Kb++pEh7xRTrSZqU8YgjkunS0jcQhZrTao2ljKuBUF2VAq10iEvMGPYXEB8zVFHpDC+Q9iMWoS+68aGtYvj1ytuKagsZY3sIHSrbccN2rC6b8V74PS48pG8h3Wzf8hTxGRUA41LhXppGnCQf22vpTRBu08BGe8SeA02Ds9reqmURLN+wAJILbbP0P97NzHIeSzJr1WMRGgqWysFcpAFBZ5vC5LnljnEcIKNnvb8WDMqn8pbD0oLgFku59HwNSA8G6pVP71tYt76yGJAB2iTYjpnZb3bojqf/bIcNHrXCXzP8Isws1r9jG1oCzu7ozzYnpLDZycuizgTr/dXJ1J2kYLcqp18vIjxDvrR5FjiIsuLmYHO+EIbTUJO5OAiSQR7nBoMvG+nbVySUNhn6+a0KHGgdfUnv1It+6xXJkHSTbxqX89N01vsWGdpuSIn1JSlr0B67jXCR0+CJoRfDRHhCJhZoAD5PsR4Cv+nhaRbjm7YP7vrIWrDKCn2PyKJ7vUfnDtfIABi6HNv1CzasK5zdjxNBmDocEpcOVb7s4N1iI6Hc8SFOnD6E6ONu994xRizvydyKaIfWet5ue8ebDnV3v3Z19NvZBOZrj6RNdTSxakSCIiZ1hQJc5d2pJKsFisnZMmoZdDoMPl48jHMj1VYVH0hCi1HHtP2GuWmDe5a4wbDObFXqU1wHDJhzEe6PrtCV5N4E5JCEvRhzajiiTiT+a16HYLdJxdznY0pvpulKfOgkLCzJdKu9GtANnVHMKm/LIAd+sRikZxGw07uF07opfxN09xzXgBHzfp9wAh/mFFOQTa42A5EQW4IizMgig3qYiuuS54CGY0mWOMJgkkrev35XfHbDrci//FczEYir5n2v0aOjs6o9rsKI4cmy20fzJIxayi5kpx6gVmzcEINBL1NfVmyRyyDlcKNuss0hOWJjngCfQSngiMltsNvChMRf/rXlRrwW+ounEmtYTBFhdb5NcDEP5ea5e5OwSo/reZrUljEssmmoYh5AAJ/0FSHgPp2Is1/a+TKB0/zgVLaZI2TSJNmDyuAsXhLx3aiGmp2NvHHJRSuSBRS8zw4WcwyhG10pIMRpv2GqGcqKBcFRhrKp6/SAosWXJCyQ9Mgf7ptDgNwATe+xl3+Kor5rUzERbdqh220ppSvz4qItHYgmr6OE/DIJe5uH10By49n6/ZfOouJMacvDcMXRVNVCLPGY5+Ke/d64m8qFQ9fvFvKrAmxfbVSyRa0LvMFWbYrKdCC9d0soyuwBjlwUh4GGOiK8WXA0qXES5mszrsyFk5qrCpfcWfmlStcap24uS03iGnUKOHtSBFHISQ8cF8/cNMEyidt6CpGZ4T8y4YDgQBu3U8uFi4or8VHBL63r0Sm9Q47YsK3od8pKCFaDQvw4m0LpEcod24qnD5l6BlrxLys8i8isOvS/TQ+fA54+gPDf3BV9JOZ8DFmGjE4qSoiHtjZkYDzVYZfbRnVDmrr10rSSxcM7Rz+tKxVO/iBJo003X/6XAMPeeCX+CbKSsV0+ZpZ1rVn6UY3E6Zhr6CcoV6RYr7PdzCHuAuyRhqEG23O98V5LPlpRblncsD1WnbqwfoGZ6cUYvFP8uyCM+pqJDzHpCJwx5xcwNAAVtHxlxUML9dnkOUSe75QLyLaDN0IUnp/IG3Ro97I8+D1DHoCHu+HgMoc+ZzFUx+chfpc8e5O/r4GAS0I+9MVH/U8BC4tOJ5LjuVXzas82m32RGUq9SgK2JgS7LW7qKktRRPw/DGW+JgwChEXfBPbeUuauXNn+ofjP2tWAR3EOcRIam/ge4XkXuPMhtObrGs5tf55mdinomPsnWh+GPL54gPm1VqIq1ibgd6RbSNTYBxYdZa92xLlysPEY3jxyEBGB2AlviV2jtb/euOagYyN//XOnt/5RCaCLGP6gltjp5wagVRpezZ2MeAuhRjDg4cW09ngnyRzDYcubn/zU6DbJWqPIH+C4RNnChaeAKL6/DgHDI2dWGUFgdxXUyzPLSAVld+bHp9JKdYjbJqwYFGHjILxXzPCr1n3D/DsGC7epjf3wXRl3rw/x0ec26b5Eg/l3lY3JHJRluVsSIz0UE5l825oqLfLpTO+mY+JIAg6EHVUT0ObpfjTR3MZyhYBKs6Mt2oxAYHDR7W10PlmhU0S3It1NsOYzLXZMYbiNNvG50/HJuQ9AxXQS4135wX3NfPnRyBDEY/AuKC5KS9V+CvJekDPIyIpUPYC8A7LHw0XFxYfcBZpap40vx4P1qAp6Lgsl3D23EpX9sTdWxRhaZdpbLyAVR+IZU4/zDHqYxWuDYethOa+ivqzmeKiTm3t3hwEi+6Edb6arueWhsaBnAi8+h6wOdLOc3HYQ6M4/mtZ8+qMM6tDQaSn23XpyiOPoadGk31aDZZq+uz8lqAUB6BR12kUKUq7v4wwtwK0pNPkDUaEk/azNh/gR703rreKLZo9KRg+jrG7zBVqlXAD3aGSlxshIGhF1iDLdx1S0DzfjG4z47mWW+njKP8cWnMZkCjsGKvdj1J0Kf3kNOg7NuZv7A2Riyr/0ZKDGWV4jtVEAPc0oZtPhGGGHX6fMby+PpYJpKHv5lZtOyTdT/aMcOQiUEkAqfjsObuMcoHfuy2hXG+lAH1y5zMS2CC2LAwVtIKTadTUK5QPzjlXRg8n2/N5hF1p1mmCem7MlricLuMbik9M20Y4fELz9FfPhsyxZ/H4biz6bSRXvMk0X6qwldE55xAOXe6MashnMsJl5Vm/Msc/ChvQ2PDIxTqwswFtD3aykrwF0H1SewQD7JsPOGCAvyg6EIUsaAGHlfiyJbPH82V8Jbh3yI+QkXoWTVET2pMMdWwPJXpN+e9BmHqBr2svejQggrLfFWnr4OLuGB0SuQVSjh8ixVp+jgxusVjdTIdFvvmzeHQdzyVzsy2bXfbyrqpZpJg0bbi2181J2C224IWMmJkHsreI4WuSvN9xr2k8v255sqlje5OQOVZrNbHwokcvXR0XBiHGwt9q+OW7za1/k6Lb6Z9LGW2ulTWk/UJvRFOQDb0627WABPO06BaMb/5nlRECyJBCn7vXEr0ZpIiyNgOQcBh94WhNg1WY78sc+Wy5TUlTHr5plFbe+T0GGEbpg3KIBlNgcPFNTGrvUpYUAJHQYpFEqp60AW8LxMteYn6m3k/4a3Ted9ehUtljSGfXZrNiYw3f89fC0lhMrXKxb032/AJ7+6lk2Gipky0UFK6fpTUMaYPLNOSCVcqPIy8qR6Pgqgk3GJ0L4PqIBM+l1vezs4NmByZI9pfwGjeoYDHRcBtsh4L8TQu8Lo+PAnISsvM1aZ0B/m53iGEnoGihncI0IZTURXJU7EaV7O9uvnOTEybORNixuiZg4Ua1iuG8pVhO4aMMfD/IVRSmqZTtmqbHlPdUrlAFkG/XzTHNxxM2iHvArCoZZFNskXlCE0oXorEvDduosJsydYpfnLDVZ1GibJAXDS3H+0oJNakVZsthYcyI7TmpQSugE+dk7MfIsIWpZUNFIBha47bmN86rX/j/KbUKpQBdjdDzjzFJ5ekDkoiWVRz9H+lPb8d06NICT3QuHqKuz5EyPt4LI61N+X8gWfaU/WKQl9MlwTQmbuby6Sl/1UiZUHxqKh9pE5wvD+sEJ0eX3PQtMgFpoGAF2zQseSTpLFunfeeQTMaPYZBOWsWuY8smxvd6kldApp0k8nDGBYE3l4Oz43ForZhnu9HOsvdIqFPf/HDEkt5mRGCdmISIShSUpLDbC57+PceOyhuvcVr7xuLQGYjuhiIGaZN5BhPvXyRcJzxYeTw8/MYwXG4c8ExGwOmJ6pyzzxAHAXZxbxcZiYxeU4Y4g0HxA6xHHCZc+xgWRGsa6s1u8uMOkniNNgt9RGtK0nbJ/La2vxuxgK4cV0hxZbFoq5hm4KNxgx9ot3GIbD2YUg5KSD8NwFhIJcAtyoBSkQhwSXntIN+ziKGSatJuNLQQvbksw9Kpu9rLvJZfQpjflu7h8HUIDnblw9yK3qFRKe0T2ePTBm86qfXy+a3PaA1jK8refe3wcvuoNRL+MegTh9jfTI5r/jZhTziRcw4h/FtFpo/GtwTsUYIgx5k+u9JyCanLPIZvR/pr/6GENTC32aodGWQqN+B25xo2ugzJiivt6zsTTlR7SI7Wl/l/Apah3p6LcnhKmNW89w4yJHOO72Ly0HCd3h9NUpWY9mzb0ZLLDvbLxKLiMcBK8+h/DM+IlZG5LnKWIrqY0FWl+3sg6emLeEXm5wWgTYJeCWWJaSeWeJ+jqlw4kk8G9GrFfH4wtIxatuchrEvK/BjCZkeUBjTRMWd8RFj5JBWEXZ1kJkdtkQood5urX3/cM6QumbVk6+oZHr5U8ewoRBmKvxGL4m4gvmvX+XaTVvvpgR3GP0mJ6WQFjQVNfcIAjYhOfpry/rt95tq+eJM+Mpb86KZlWp6wUpCK+AIQ7d3GiT5/ZoXRRXNj763xhcN8n63GVuCyFvtscCKV81UVCjijOVLs+arFqT+DSaT342hdDfy7V6qbwwov/DetZiiFA14blsLJ+GEQk1EjQ6t5Y9e3IwbGdSpYLwHfZERHJqeTpBNzlPiMZ/YzJ0e6u6rFPqe5JM8HGTLvjPZvlR8/jTHQcNIz4Aq/ZKNYZg/9y+W/3NgrGOkvcp1ukK1CEWokKrZQdd2lWQmUBPMUNt96ppiWL/qLMJwyyO8QX102AGNioPTAG4r8uq3Yqc33lYLvfMA2d0PkGnlkXmWLXbytSY0/E+rz3jGKp/WREKLTpfMXNrLloZL+Rk4d283Hh5Vxt3nqveOnYvi5KzfTIL5YkCgyN48WYyV+lv8D1HO0ykVGLa/Hizg7rPOtQ21DQ99pqlw2JmBWXf2VnxpwbggMcz2uDLhPB+bZK1Z0VCzZbg0R3jCJF3jByutXuqayBhiVs9Yx0hgMg7Hded7IjddLdvT3doE+h166A2tSrfKIEU8UDKxUOrIuK1oaktfCGpYYmNOp3w4XkDuDb7Lc+8mm+GhkWvscLlZAEqXNdmWxI35rbWQUsyTUTJFcJ7STFUriVib8dah13p1+9+PBwIC+osLm0ZmuDlmSln98y4J7g41W9EglJ0t7AjXKFkGA/iH0a3mNDLHw0ltc91QutUd6qfwXosKDRohycFRdtlu4TYecBsMZ685LN/Al5aLIBOzdiwQpssU9g8GB2MGbe/1FATE6TzdqFK29ZHKjkQqatp6Bgx7GaDBrHiuSb97fqAlEbXkGUgRqQmmCUZz11/IF6JWJTXWbgnd5jLrY0XSptSU9L+fD367Ye1/+qRw47hdZFn1hgCtOp2ZzNDtiXuPclnEdEjIX2H9zDxu+QdPzwptHWYLHS/MaVXrkedXdND8oTEWAM0COO7GtkvaOXUjDqrZD/orLmDxLX/Cmn+aChUqd2Gpc8v40KApa3KjyYYQnv216rQUlt1ovLNPCgOJZtO6P8SqAWHq1FnuKfMREXbScne6sA4dMlAxAKqkmtcTzJgwjUyCNsBw+JZ5dxCOKJgKB4vdV6BjN3QJhRoZvbmFhzv0MNFoHa617aUTboT6gQwvcLpySJ8TtftRx66490rtY8tBZzVyrriwysQPsbzb/XaXSBqTAcgWAUW0A5CV7iL2YQdc7GMCh6jUg1wQ03Iwl+OMkM5LvWZOfEqY0oM/qpLMDcrFELfL3AX2X3E9p05sGZ65MBUkqwOTHnG+oqzBUhZOrimg2GYA3+hCl30X3coFfUKTU23uDjsFrSzV5y7P/VAEmGLTwGTcrppCgvEeAOS6sgoOUBhecUPjMkejpS3mw54FAlpnnAKhAngBMGT5qZM2hT++0yMbFT+pcgSLvLvDl7ZDEcc/cmYQLUUot3mBZlrKenQZJBB0+v7g6Df8+282LuYUINAOxM0JrKGOU3dinxtr7NBKzbuYmj/msGtIJKkqQ9qMaUJ3tgQw5m1H6TODhRN50Vi8BI2yuyAsIBc4z9X2qt8PwwQrUda9dFs0kvruI1/u4CfuXHKsrlcdY9q9SLfktBqYQtmAF0SSv/49UpvXa/LxF1xo/EkRbjU8dZdLOexjKkzstkeKXxKHKGY39w0/vKxcr3YJcJaaH/yiYNgxJncfgB4tvSKlPcQGuYOjVENxtQNF7fgrC0DpmbEQ556hoDlhjO5SOFgl0ivaiYUDgj9zFOBuwK3KXpOFYQpLDAoJCTr0bMnzViRpzKcDvT+tm6xp4SlfS8Fuvg0IEVTWboq7xn12cc8ANi6EYh0FV82o9fAp5rw7JTUeynxEOrFI0HeW53RAAiuzlqIxmnqiFeL3QN89QjhLZrg8lU6NuRIB6caz0s17jyBbWpwyN9LIV8xkY6lFIqPyWDusLNmKJ/5jE4rNVuYSJxElbVsxF5n5pKfhhPR2d4IFk+3NXRJ5q82wEsOvikSPFCdtGl8AQeDZi0"/>
  <p:tag name="MEKKOXMLTAG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1_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F6C0EA1-03D5-492C-9937-30F7B6613D57}">
  <we:reference id="70ed8778-2a1c-4697-8cf0-5cf67c93b7b6" version="1.1.0.3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94BD78EE014641871BE0AC327E8323" ma:contentTypeVersion="5" ma:contentTypeDescription="Create a new document." ma:contentTypeScope="" ma:versionID="025aef7002659a7f9fb751630d0294d9">
  <xsd:schema xmlns:xsd="http://www.w3.org/2001/XMLSchema" xmlns:xs="http://www.w3.org/2001/XMLSchema" xmlns:p="http://schemas.microsoft.com/office/2006/metadata/properties" xmlns:ns2="84ff6eb5-ea5c-4414-bca8-f7b0b13905c1" targetNamespace="http://schemas.microsoft.com/office/2006/metadata/properties" ma:root="true" ma:fieldsID="31d543ae2954dc5e11d6a263e3385a09" ns2:_="">
    <xsd:import namespace="84ff6eb5-ea5c-4414-bca8-f7b0b13905c1"/>
    <xsd:element name="properties">
      <xsd:complexType>
        <xsd:sequence>
          <xsd:element name="documentManagement">
            <xsd:complexType>
              <xsd:all>
                <xsd:element ref="ns2:xSherpaClassifyTag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ff6eb5-ea5c-4414-bca8-f7b0b13905c1" elementFormDefault="qualified">
    <xsd:import namespace="http://schemas.microsoft.com/office/2006/documentManagement/types"/>
    <xsd:import namespace="http://schemas.microsoft.com/office/infopath/2007/PartnerControls"/>
    <xsd:element name="xSherpaClassifyTag" ma:index="8" nillable="true" ma:displayName="xSherpaClassifyTag" ma:indexed="true" ma:internalName="xSherpaClassifyTag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xSherpaClassifyTag xmlns="84ff6eb5-ea5c-4414-bca8-f7b0b13905c1" xsi:nil="true"/>
  </documentManagement>
</p:properties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060102-4DCE-4EFA-B35A-170705A180B4}">
  <ds:schemaRefs>
    <ds:schemaRef ds:uri="84ff6eb5-ea5c-4414-bca8-f7b0b13905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F67CF06-2CD7-4D7F-85A6-84F8F4780F1A}">
  <ds:schemaRefs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84ff6eb5-ea5c-4414-bca8-f7b0b13905c1"/>
    <ds:schemaRef ds:uri="http://purl.org/dc/dcmitype/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</TotalTime>
  <Words>281</Words>
  <Application>Microsoft Office PowerPoint</Application>
  <PresentationFormat>Widescreen</PresentationFormat>
  <Paragraphs>50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Bain Core</vt:lpstr>
      <vt:lpstr>1_Bain Core</vt:lpstr>
      <vt:lpstr>think-cell Slide</vt:lpstr>
      <vt:lpstr>Digital Deck 1 – Marketing Spend</vt:lpstr>
      <vt:lpstr>Marketing spend: Target 1 and Target 2 are the top spenders among peers, with Target 2 showing a remarkable YoY surge fueled entirely by online channels</vt:lpstr>
      <vt:lpstr>Marketing channel mix: Target 1 and Target 2 are outperforming peers with higher investments and a more diversified channel mix</vt:lpstr>
      <vt:lpstr>Digital ads: Target 1 and Target 2 lead peer investments with the most diversified channel mix, yet have room to improve efficiency by lowering their CPM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Aphrodite – BCN PEG Digital Diagnostic</dc:title>
  <dc:creator>Dantes, Reuben</dc:creator>
  <cp:lastModifiedBy>Singh, Ujjwal</cp:lastModifiedBy>
  <cp:revision>4</cp:revision>
  <cp:lastPrinted>2017-02-15T14:23:56Z</cp:lastPrinted>
  <dcterms:created xsi:type="dcterms:W3CDTF">2023-10-17T19:56:54Z</dcterms:created>
  <dcterms:modified xsi:type="dcterms:W3CDTF">2025-06-02T05:5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94BD78EE014641871BE0AC327E8323</vt:lpwstr>
  </property>
</Properties>
</file>